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2.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3.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4.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5.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6.xml" ContentType="application/vnd.openxmlformats-officedocument.presentationml.tags+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7.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374" r:id="rId2"/>
    <p:sldId id="390" r:id="rId3"/>
    <p:sldId id="391" r:id="rId4"/>
    <p:sldId id="392" r:id="rId5"/>
    <p:sldId id="395" r:id="rId6"/>
    <p:sldId id="393" r:id="rId7"/>
    <p:sldId id="401" r:id="rId8"/>
    <p:sldId id="399" r:id="rId9"/>
    <p:sldId id="402" r:id="rId10"/>
    <p:sldId id="405" r:id="rId11"/>
    <p:sldId id="403" r:id="rId12"/>
    <p:sldId id="404" r:id="rId13"/>
    <p:sldId id="400" r:id="rId14"/>
    <p:sldId id="383"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93" userDrawn="1">
          <p15:clr>
            <a:srgbClr val="A4A3A4"/>
          </p15:clr>
        </p15:guide>
        <p15:guide id="2" orient="horz" pos="2319" userDrawn="1">
          <p15:clr>
            <a:srgbClr val="A4A3A4"/>
          </p15:clr>
        </p15:guide>
        <p15:guide id="3" pos="216" userDrawn="1">
          <p15:clr>
            <a:srgbClr val="A4A3A4"/>
          </p15:clr>
        </p15:guide>
        <p15:guide id="4" pos="960" userDrawn="1">
          <p15:clr>
            <a:srgbClr val="A4A3A4"/>
          </p15:clr>
        </p15:guide>
        <p15:guide id="5" pos="3792" userDrawn="1">
          <p15:clr>
            <a:srgbClr val="A4A3A4"/>
          </p15:clr>
        </p15:guide>
        <p15:guide id="6" pos="3912" userDrawn="1">
          <p15:clr>
            <a:srgbClr val="A4A3A4"/>
          </p15:clr>
        </p15:guide>
        <p15:guide id="7" pos="2040" userDrawn="1">
          <p15:clr>
            <a:srgbClr val="A4A3A4"/>
          </p15:clr>
        </p15:guide>
        <p15:guide id="8" pos="4040" userDrawn="1">
          <p15:clr>
            <a:srgbClr val="A4A3A4"/>
          </p15:clr>
        </p15:guide>
        <p15:guide id="9" pos="74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mila Valavanian" initials="CV" lastIdx="1" clrIdx="0">
    <p:extLst>
      <p:ext uri="{19B8F6BF-5375-455C-9EA6-DF929625EA0E}">
        <p15:presenceInfo xmlns:p15="http://schemas.microsoft.com/office/powerpoint/2012/main" userId="Camila Valavani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D235"/>
    <a:srgbClr val="9FBE60"/>
    <a:srgbClr val="EC5E07"/>
    <a:srgbClr val="9999FF"/>
    <a:srgbClr val="1F627A"/>
    <a:srgbClr val="EC5E06"/>
    <a:srgbClr val="DFC9ED"/>
    <a:srgbClr val="CCE4FF"/>
    <a:srgbClr val="707070"/>
    <a:srgbClr val="9B974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90" autoAdjust="0"/>
    <p:restoredTop sz="76761" autoAdjust="0"/>
  </p:normalViewPr>
  <p:slideViewPr>
    <p:cSldViewPr snapToGrid="0">
      <p:cViewPr varScale="1">
        <p:scale>
          <a:sx n="89" d="100"/>
          <a:sy n="89" d="100"/>
        </p:scale>
        <p:origin x="1248" y="160"/>
      </p:cViewPr>
      <p:guideLst>
        <p:guide orient="horz" pos="1593"/>
        <p:guide orient="horz" pos="2319"/>
        <p:guide pos="216"/>
        <p:guide pos="960"/>
        <p:guide pos="3792"/>
        <p:guide pos="3912"/>
        <p:guide pos="2040"/>
        <p:guide pos="4040"/>
        <p:guide pos="7464"/>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110" d="100"/>
          <a:sy n="110" d="100"/>
        </p:scale>
        <p:origin x="4520" y="1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A</c:v>
                </c:pt>
              </c:strCache>
            </c:strRef>
          </c:tx>
          <c:spPr>
            <a:ln w="28575" cap="rnd">
              <a:solidFill>
                <a:schemeClr val="tx2"/>
              </a:solidFill>
              <a:round/>
            </a:ln>
            <a:effectLst/>
          </c:spPr>
          <c:marker>
            <c:symbol val="none"/>
          </c:marker>
          <c:cat>
            <c:numRef>
              <c:f>Hoja1!$A$2:$A$524</c:f>
              <c:numCache>
                <c:formatCode>m/d/yy</c:formatCode>
                <c:ptCount val="523"/>
                <c:pt idx="0">
                  <c:v>41586</c:v>
                </c:pt>
                <c:pt idx="1">
                  <c:v>41593</c:v>
                </c:pt>
                <c:pt idx="2">
                  <c:v>41600</c:v>
                </c:pt>
                <c:pt idx="3">
                  <c:v>41607</c:v>
                </c:pt>
                <c:pt idx="4">
                  <c:v>41614</c:v>
                </c:pt>
                <c:pt idx="5">
                  <c:v>41621</c:v>
                </c:pt>
                <c:pt idx="6">
                  <c:v>41628</c:v>
                </c:pt>
                <c:pt idx="7">
                  <c:v>41635</c:v>
                </c:pt>
                <c:pt idx="8">
                  <c:v>41642</c:v>
                </c:pt>
                <c:pt idx="9">
                  <c:v>41649</c:v>
                </c:pt>
                <c:pt idx="10">
                  <c:v>41656</c:v>
                </c:pt>
                <c:pt idx="11">
                  <c:v>41663</c:v>
                </c:pt>
                <c:pt idx="12">
                  <c:v>41670</c:v>
                </c:pt>
                <c:pt idx="13">
                  <c:v>41677</c:v>
                </c:pt>
                <c:pt idx="14">
                  <c:v>41684</c:v>
                </c:pt>
                <c:pt idx="15">
                  <c:v>41691</c:v>
                </c:pt>
                <c:pt idx="16">
                  <c:v>41698</c:v>
                </c:pt>
                <c:pt idx="17">
                  <c:v>41705</c:v>
                </c:pt>
                <c:pt idx="18">
                  <c:v>41712</c:v>
                </c:pt>
                <c:pt idx="19">
                  <c:v>41719</c:v>
                </c:pt>
                <c:pt idx="20">
                  <c:v>41726</c:v>
                </c:pt>
                <c:pt idx="21">
                  <c:v>41733</c:v>
                </c:pt>
                <c:pt idx="22">
                  <c:v>41740</c:v>
                </c:pt>
                <c:pt idx="23">
                  <c:v>41747</c:v>
                </c:pt>
                <c:pt idx="24">
                  <c:v>41754</c:v>
                </c:pt>
                <c:pt idx="25">
                  <c:v>41761</c:v>
                </c:pt>
                <c:pt idx="26">
                  <c:v>41768</c:v>
                </c:pt>
                <c:pt idx="27">
                  <c:v>41775</c:v>
                </c:pt>
                <c:pt idx="28">
                  <c:v>41782</c:v>
                </c:pt>
                <c:pt idx="29">
                  <c:v>41789</c:v>
                </c:pt>
                <c:pt idx="30">
                  <c:v>41796</c:v>
                </c:pt>
                <c:pt idx="31">
                  <c:v>41803</c:v>
                </c:pt>
                <c:pt idx="32">
                  <c:v>41810</c:v>
                </c:pt>
                <c:pt idx="33">
                  <c:v>41817</c:v>
                </c:pt>
                <c:pt idx="34">
                  <c:v>41824</c:v>
                </c:pt>
                <c:pt idx="35">
                  <c:v>41831</c:v>
                </c:pt>
                <c:pt idx="36">
                  <c:v>41838</c:v>
                </c:pt>
                <c:pt idx="37">
                  <c:v>41845</c:v>
                </c:pt>
                <c:pt idx="38">
                  <c:v>41852</c:v>
                </c:pt>
                <c:pt idx="39">
                  <c:v>41859</c:v>
                </c:pt>
                <c:pt idx="40">
                  <c:v>41866</c:v>
                </c:pt>
                <c:pt idx="41">
                  <c:v>41873</c:v>
                </c:pt>
                <c:pt idx="42">
                  <c:v>41880</c:v>
                </c:pt>
                <c:pt idx="43">
                  <c:v>41887</c:v>
                </c:pt>
                <c:pt idx="44">
                  <c:v>41894</c:v>
                </c:pt>
                <c:pt idx="45">
                  <c:v>41901</c:v>
                </c:pt>
                <c:pt idx="46">
                  <c:v>41908</c:v>
                </c:pt>
                <c:pt idx="47">
                  <c:v>41915</c:v>
                </c:pt>
                <c:pt idx="48">
                  <c:v>41922</c:v>
                </c:pt>
                <c:pt idx="49">
                  <c:v>41929</c:v>
                </c:pt>
                <c:pt idx="50">
                  <c:v>41936</c:v>
                </c:pt>
                <c:pt idx="51">
                  <c:v>41943</c:v>
                </c:pt>
                <c:pt idx="52">
                  <c:v>41950</c:v>
                </c:pt>
                <c:pt idx="53">
                  <c:v>41957</c:v>
                </c:pt>
                <c:pt idx="54">
                  <c:v>41964</c:v>
                </c:pt>
                <c:pt idx="55">
                  <c:v>41971</c:v>
                </c:pt>
                <c:pt idx="56">
                  <c:v>41978</c:v>
                </c:pt>
                <c:pt idx="57">
                  <c:v>41985</c:v>
                </c:pt>
                <c:pt idx="58">
                  <c:v>41992</c:v>
                </c:pt>
                <c:pt idx="59">
                  <c:v>41999</c:v>
                </c:pt>
                <c:pt idx="60">
                  <c:v>42006</c:v>
                </c:pt>
                <c:pt idx="61">
                  <c:v>42013</c:v>
                </c:pt>
                <c:pt idx="62">
                  <c:v>42020</c:v>
                </c:pt>
                <c:pt idx="63">
                  <c:v>42027</c:v>
                </c:pt>
                <c:pt idx="64">
                  <c:v>42034</c:v>
                </c:pt>
                <c:pt idx="65">
                  <c:v>42041</c:v>
                </c:pt>
                <c:pt idx="66">
                  <c:v>42048</c:v>
                </c:pt>
                <c:pt idx="67">
                  <c:v>42055</c:v>
                </c:pt>
                <c:pt idx="68">
                  <c:v>42062</c:v>
                </c:pt>
                <c:pt idx="69">
                  <c:v>42069</c:v>
                </c:pt>
                <c:pt idx="70">
                  <c:v>42076</c:v>
                </c:pt>
                <c:pt idx="71">
                  <c:v>42083</c:v>
                </c:pt>
                <c:pt idx="72">
                  <c:v>42090</c:v>
                </c:pt>
                <c:pt idx="73">
                  <c:v>42097</c:v>
                </c:pt>
                <c:pt idx="74">
                  <c:v>42104</c:v>
                </c:pt>
                <c:pt idx="75">
                  <c:v>42111</c:v>
                </c:pt>
                <c:pt idx="76">
                  <c:v>42118</c:v>
                </c:pt>
                <c:pt idx="77">
                  <c:v>42125</c:v>
                </c:pt>
                <c:pt idx="78">
                  <c:v>42132</c:v>
                </c:pt>
                <c:pt idx="79">
                  <c:v>42139</c:v>
                </c:pt>
                <c:pt idx="80">
                  <c:v>42146</c:v>
                </c:pt>
                <c:pt idx="81">
                  <c:v>42153</c:v>
                </c:pt>
                <c:pt idx="82">
                  <c:v>42160</c:v>
                </c:pt>
                <c:pt idx="83">
                  <c:v>42167</c:v>
                </c:pt>
                <c:pt idx="84">
                  <c:v>42174</c:v>
                </c:pt>
                <c:pt idx="85">
                  <c:v>42181</c:v>
                </c:pt>
                <c:pt idx="86">
                  <c:v>42188</c:v>
                </c:pt>
                <c:pt idx="87">
                  <c:v>42195</c:v>
                </c:pt>
                <c:pt idx="88">
                  <c:v>42202</c:v>
                </c:pt>
                <c:pt idx="89">
                  <c:v>42209</c:v>
                </c:pt>
                <c:pt idx="90">
                  <c:v>42216</c:v>
                </c:pt>
                <c:pt idx="91">
                  <c:v>42223</c:v>
                </c:pt>
                <c:pt idx="92">
                  <c:v>42230</c:v>
                </c:pt>
                <c:pt idx="93">
                  <c:v>42237</c:v>
                </c:pt>
                <c:pt idx="94">
                  <c:v>42244</c:v>
                </c:pt>
                <c:pt idx="95">
                  <c:v>42251</c:v>
                </c:pt>
                <c:pt idx="96">
                  <c:v>42258</c:v>
                </c:pt>
                <c:pt idx="97">
                  <c:v>42265</c:v>
                </c:pt>
                <c:pt idx="98">
                  <c:v>42272</c:v>
                </c:pt>
                <c:pt idx="99">
                  <c:v>42279</c:v>
                </c:pt>
                <c:pt idx="100">
                  <c:v>42286</c:v>
                </c:pt>
                <c:pt idx="101">
                  <c:v>42293</c:v>
                </c:pt>
                <c:pt idx="102">
                  <c:v>42300</c:v>
                </c:pt>
                <c:pt idx="103">
                  <c:v>42307</c:v>
                </c:pt>
                <c:pt idx="104">
                  <c:v>42314</c:v>
                </c:pt>
                <c:pt idx="105">
                  <c:v>42321</c:v>
                </c:pt>
                <c:pt idx="106">
                  <c:v>42328</c:v>
                </c:pt>
                <c:pt idx="107">
                  <c:v>42335</c:v>
                </c:pt>
                <c:pt idx="108">
                  <c:v>42342</c:v>
                </c:pt>
                <c:pt idx="109">
                  <c:v>42349</c:v>
                </c:pt>
                <c:pt idx="110">
                  <c:v>42356</c:v>
                </c:pt>
                <c:pt idx="111">
                  <c:v>42363</c:v>
                </c:pt>
                <c:pt idx="112">
                  <c:v>42370</c:v>
                </c:pt>
                <c:pt idx="113">
                  <c:v>42377</c:v>
                </c:pt>
                <c:pt idx="114">
                  <c:v>42384</c:v>
                </c:pt>
                <c:pt idx="115">
                  <c:v>42391</c:v>
                </c:pt>
                <c:pt idx="116">
                  <c:v>42398</c:v>
                </c:pt>
                <c:pt idx="117">
                  <c:v>42405</c:v>
                </c:pt>
                <c:pt idx="118">
                  <c:v>42412</c:v>
                </c:pt>
                <c:pt idx="119">
                  <c:v>42419</c:v>
                </c:pt>
                <c:pt idx="120">
                  <c:v>42426</c:v>
                </c:pt>
                <c:pt idx="121">
                  <c:v>42433</c:v>
                </c:pt>
                <c:pt idx="122">
                  <c:v>42440</c:v>
                </c:pt>
                <c:pt idx="123">
                  <c:v>42447</c:v>
                </c:pt>
                <c:pt idx="124">
                  <c:v>42454</c:v>
                </c:pt>
                <c:pt idx="125">
                  <c:v>42461</c:v>
                </c:pt>
                <c:pt idx="126">
                  <c:v>42468</c:v>
                </c:pt>
                <c:pt idx="127">
                  <c:v>42475</c:v>
                </c:pt>
                <c:pt idx="128">
                  <c:v>42482</c:v>
                </c:pt>
                <c:pt idx="129">
                  <c:v>42489</c:v>
                </c:pt>
                <c:pt idx="130">
                  <c:v>42496</c:v>
                </c:pt>
                <c:pt idx="131">
                  <c:v>42503</c:v>
                </c:pt>
                <c:pt idx="132">
                  <c:v>42510</c:v>
                </c:pt>
                <c:pt idx="133">
                  <c:v>42517</c:v>
                </c:pt>
                <c:pt idx="134">
                  <c:v>42524</c:v>
                </c:pt>
                <c:pt idx="135">
                  <c:v>42531</c:v>
                </c:pt>
                <c:pt idx="136">
                  <c:v>42538</c:v>
                </c:pt>
                <c:pt idx="137">
                  <c:v>42545</c:v>
                </c:pt>
                <c:pt idx="138">
                  <c:v>42552</c:v>
                </c:pt>
                <c:pt idx="139">
                  <c:v>42559</c:v>
                </c:pt>
                <c:pt idx="140">
                  <c:v>42566</c:v>
                </c:pt>
                <c:pt idx="141">
                  <c:v>42573</c:v>
                </c:pt>
                <c:pt idx="142">
                  <c:v>42580</c:v>
                </c:pt>
                <c:pt idx="143">
                  <c:v>42587</c:v>
                </c:pt>
                <c:pt idx="144">
                  <c:v>42594</c:v>
                </c:pt>
                <c:pt idx="145">
                  <c:v>42601</c:v>
                </c:pt>
                <c:pt idx="146">
                  <c:v>42608</c:v>
                </c:pt>
                <c:pt idx="147">
                  <c:v>42615</c:v>
                </c:pt>
                <c:pt idx="148">
                  <c:v>42622</c:v>
                </c:pt>
                <c:pt idx="149">
                  <c:v>42629</c:v>
                </c:pt>
                <c:pt idx="150">
                  <c:v>42636</c:v>
                </c:pt>
                <c:pt idx="151">
                  <c:v>42643</c:v>
                </c:pt>
                <c:pt idx="152">
                  <c:v>42650</c:v>
                </c:pt>
                <c:pt idx="153">
                  <c:v>42657</c:v>
                </c:pt>
                <c:pt idx="154">
                  <c:v>42664</c:v>
                </c:pt>
                <c:pt idx="155">
                  <c:v>42671</c:v>
                </c:pt>
                <c:pt idx="156">
                  <c:v>42678</c:v>
                </c:pt>
                <c:pt idx="157">
                  <c:v>42685</c:v>
                </c:pt>
                <c:pt idx="158">
                  <c:v>42692</c:v>
                </c:pt>
                <c:pt idx="159">
                  <c:v>42699</c:v>
                </c:pt>
                <c:pt idx="160">
                  <c:v>42706</c:v>
                </c:pt>
                <c:pt idx="161">
                  <c:v>42713</c:v>
                </c:pt>
                <c:pt idx="162">
                  <c:v>42720</c:v>
                </c:pt>
                <c:pt idx="163">
                  <c:v>42727</c:v>
                </c:pt>
                <c:pt idx="164">
                  <c:v>42734</c:v>
                </c:pt>
                <c:pt idx="165">
                  <c:v>42741</c:v>
                </c:pt>
                <c:pt idx="166">
                  <c:v>42748</c:v>
                </c:pt>
                <c:pt idx="167">
                  <c:v>42755</c:v>
                </c:pt>
                <c:pt idx="168">
                  <c:v>42762</c:v>
                </c:pt>
                <c:pt idx="169">
                  <c:v>42769</c:v>
                </c:pt>
                <c:pt idx="170">
                  <c:v>42776</c:v>
                </c:pt>
                <c:pt idx="171">
                  <c:v>42783</c:v>
                </c:pt>
                <c:pt idx="172">
                  <c:v>42790</c:v>
                </c:pt>
                <c:pt idx="173">
                  <c:v>42797</c:v>
                </c:pt>
                <c:pt idx="174">
                  <c:v>42804</c:v>
                </c:pt>
                <c:pt idx="175">
                  <c:v>42811</c:v>
                </c:pt>
                <c:pt idx="176">
                  <c:v>42818</c:v>
                </c:pt>
                <c:pt idx="177">
                  <c:v>42825</c:v>
                </c:pt>
                <c:pt idx="178">
                  <c:v>42832</c:v>
                </c:pt>
                <c:pt idx="179">
                  <c:v>42839</c:v>
                </c:pt>
                <c:pt idx="180">
                  <c:v>42846</c:v>
                </c:pt>
                <c:pt idx="181">
                  <c:v>42853</c:v>
                </c:pt>
                <c:pt idx="182">
                  <c:v>42860</c:v>
                </c:pt>
                <c:pt idx="183">
                  <c:v>42867</c:v>
                </c:pt>
                <c:pt idx="184">
                  <c:v>42874</c:v>
                </c:pt>
                <c:pt idx="185">
                  <c:v>42881</c:v>
                </c:pt>
                <c:pt idx="186">
                  <c:v>42888</c:v>
                </c:pt>
                <c:pt idx="187">
                  <c:v>42895</c:v>
                </c:pt>
                <c:pt idx="188">
                  <c:v>42902</c:v>
                </c:pt>
                <c:pt idx="189">
                  <c:v>42909</c:v>
                </c:pt>
                <c:pt idx="190">
                  <c:v>42916</c:v>
                </c:pt>
                <c:pt idx="191">
                  <c:v>42923</c:v>
                </c:pt>
                <c:pt idx="192">
                  <c:v>42930</c:v>
                </c:pt>
                <c:pt idx="193">
                  <c:v>42937</c:v>
                </c:pt>
                <c:pt idx="194">
                  <c:v>42944</c:v>
                </c:pt>
                <c:pt idx="195">
                  <c:v>42951</c:v>
                </c:pt>
                <c:pt idx="196">
                  <c:v>42958</c:v>
                </c:pt>
                <c:pt idx="197">
                  <c:v>42965</c:v>
                </c:pt>
                <c:pt idx="198">
                  <c:v>42972</c:v>
                </c:pt>
                <c:pt idx="199">
                  <c:v>42979</c:v>
                </c:pt>
                <c:pt idx="200">
                  <c:v>42986</c:v>
                </c:pt>
                <c:pt idx="201">
                  <c:v>42993</c:v>
                </c:pt>
                <c:pt idx="202">
                  <c:v>43000</c:v>
                </c:pt>
                <c:pt idx="203">
                  <c:v>43007</c:v>
                </c:pt>
                <c:pt idx="204">
                  <c:v>43014</c:v>
                </c:pt>
                <c:pt idx="205">
                  <c:v>43021</c:v>
                </c:pt>
                <c:pt idx="206">
                  <c:v>43028</c:v>
                </c:pt>
                <c:pt idx="207">
                  <c:v>43035</c:v>
                </c:pt>
                <c:pt idx="208">
                  <c:v>43042</c:v>
                </c:pt>
                <c:pt idx="209">
                  <c:v>43049</c:v>
                </c:pt>
                <c:pt idx="210">
                  <c:v>43056</c:v>
                </c:pt>
                <c:pt idx="211">
                  <c:v>43063</c:v>
                </c:pt>
                <c:pt idx="212">
                  <c:v>43070</c:v>
                </c:pt>
                <c:pt idx="213">
                  <c:v>43077</c:v>
                </c:pt>
                <c:pt idx="214">
                  <c:v>43084</c:v>
                </c:pt>
                <c:pt idx="215">
                  <c:v>43091</c:v>
                </c:pt>
                <c:pt idx="216">
                  <c:v>43098</c:v>
                </c:pt>
                <c:pt idx="217">
                  <c:v>43105</c:v>
                </c:pt>
                <c:pt idx="218">
                  <c:v>43112</c:v>
                </c:pt>
                <c:pt idx="219">
                  <c:v>43119</c:v>
                </c:pt>
                <c:pt idx="220">
                  <c:v>43126</c:v>
                </c:pt>
                <c:pt idx="221">
                  <c:v>43133</c:v>
                </c:pt>
                <c:pt idx="222">
                  <c:v>43140</c:v>
                </c:pt>
                <c:pt idx="223">
                  <c:v>43147</c:v>
                </c:pt>
                <c:pt idx="224">
                  <c:v>43154</c:v>
                </c:pt>
                <c:pt idx="225">
                  <c:v>43161</c:v>
                </c:pt>
                <c:pt idx="226">
                  <c:v>43168</c:v>
                </c:pt>
                <c:pt idx="227">
                  <c:v>43175</c:v>
                </c:pt>
                <c:pt idx="228">
                  <c:v>43182</c:v>
                </c:pt>
                <c:pt idx="229">
                  <c:v>43189</c:v>
                </c:pt>
                <c:pt idx="230">
                  <c:v>43196</c:v>
                </c:pt>
                <c:pt idx="231">
                  <c:v>43203</c:v>
                </c:pt>
                <c:pt idx="232">
                  <c:v>43210</c:v>
                </c:pt>
                <c:pt idx="233">
                  <c:v>43217</c:v>
                </c:pt>
                <c:pt idx="234">
                  <c:v>43224</c:v>
                </c:pt>
                <c:pt idx="235">
                  <c:v>43231</c:v>
                </c:pt>
                <c:pt idx="236">
                  <c:v>43238</c:v>
                </c:pt>
                <c:pt idx="237">
                  <c:v>43245</c:v>
                </c:pt>
                <c:pt idx="238">
                  <c:v>43252</c:v>
                </c:pt>
                <c:pt idx="239">
                  <c:v>43259</c:v>
                </c:pt>
                <c:pt idx="240">
                  <c:v>43266</c:v>
                </c:pt>
                <c:pt idx="241">
                  <c:v>43273</c:v>
                </c:pt>
                <c:pt idx="242">
                  <c:v>43280</c:v>
                </c:pt>
                <c:pt idx="243">
                  <c:v>43287</c:v>
                </c:pt>
                <c:pt idx="244">
                  <c:v>43294</c:v>
                </c:pt>
                <c:pt idx="245">
                  <c:v>43301</c:v>
                </c:pt>
                <c:pt idx="246">
                  <c:v>43308</c:v>
                </c:pt>
                <c:pt idx="247">
                  <c:v>43315</c:v>
                </c:pt>
                <c:pt idx="248">
                  <c:v>43322</c:v>
                </c:pt>
                <c:pt idx="249">
                  <c:v>43329</c:v>
                </c:pt>
                <c:pt idx="250">
                  <c:v>43336</c:v>
                </c:pt>
                <c:pt idx="251">
                  <c:v>43343</c:v>
                </c:pt>
                <c:pt idx="252">
                  <c:v>43350</c:v>
                </c:pt>
                <c:pt idx="253">
                  <c:v>43357</c:v>
                </c:pt>
                <c:pt idx="254">
                  <c:v>43364</c:v>
                </c:pt>
                <c:pt idx="255">
                  <c:v>43371</c:v>
                </c:pt>
                <c:pt idx="256">
                  <c:v>43378</c:v>
                </c:pt>
                <c:pt idx="257">
                  <c:v>43385</c:v>
                </c:pt>
                <c:pt idx="258">
                  <c:v>43392</c:v>
                </c:pt>
                <c:pt idx="259">
                  <c:v>43399</c:v>
                </c:pt>
                <c:pt idx="260">
                  <c:v>43406</c:v>
                </c:pt>
                <c:pt idx="261">
                  <c:v>43413</c:v>
                </c:pt>
                <c:pt idx="262">
                  <c:v>43420</c:v>
                </c:pt>
                <c:pt idx="263">
                  <c:v>43427</c:v>
                </c:pt>
                <c:pt idx="264">
                  <c:v>43434</c:v>
                </c:pt>
                <c:pt idx="265">
                  <c:v>43441</c:v>
                </c:pt>
                <c:pt idx="266">
                  <c:v>43448</c:v>
                </c:pt>
                <c:pt idx="267">
                  <c:v>43455</c:v>
                </c:pt>
                <c:pt idx="268">
                  <c:v>43462</c:v>
                </c:pt>
                <c:pt idx="269">
                  <c:v>43469</c:v>
                </c:pt>
                <c:pt idx="270">
                  <c:v>43476</c:v>
                </c:pt>
                <c:pt idx="271">
                  <c:v>43483</c:v>
                </c:pt>
                <c:pt idx="272">
                  <c:v>43490</c:v>
                </c:pt>
                <c:pt idx="273">
                  <c:v>43497</c:v>
                </c:pt>
                <c:pt idx="274">
                  <c:v>43504</c:v>
                </c:pt>
                <c:pt idx="275">
                  <c:v>43511</c:v>
                </c:pt>
                <c:pt idx="276">
                  <c:v>43518</c:v>
                </c:pt>
                <c:pt idx="277">
                  <c:v>43525</c:v>
                </c:pt>
                <c:pt idx="278">
                  <c:v>43532</c:v>
                </c:pt>
                <c:pt idx="279">
                  <c:v>43539</c:v>
                </c:pt>
                <c:pt idx="280">
                  <c:v>43546</c:v>
                </c:pt>
                <c:pt idx="281">
                  <c:v>43553</c:v>
                </c:pt>
                <c:pt idx="282">
                  <c:v>43560</c:v>
                </c:pt>
                <c:pt idx="283">
                  <c:v>43567</c:v>
                </c:pt>
                <c:pt idx="284">
                  <c:v>43574</c:v>
                </c:pt>
                <c:pt idx="285">
                  <c:v>43581</c:v>
                </c:pt>
                <c:pt idx="286">
                  <c:v>43588</c:v>
                </c:pt>
                <c:pt idx="287">
                  <c:v>43595</c:v>
                </c:pt>
                <c:pt idx="288">
                  <c:v>43602</c:v>
                </c:pt>
                <c:pt idx="289">
                  <c:v>43609</c:v>
                </c:pt>
                <c:pt idx="290">
                  <c:v>43616</c:v>
                </c:pt>
                <c:pt idx="291">
                  <c:v>43623</c:v>
                </c:pt>
                <c:pt idx="292">
                  <c:v>43630</c:v>
                </c:pt>
                <c:pt idx="293">
                  <c:v>43637</c:v>
                </c:pt>
                <c:pt idx="294">
                  <c:v>43644</c:v>
                </c:pt>
                <c:pt idx="295">
                  <c:v>43651</c:v>
                </c:pt>
                <c:pt idx="296">
                  <c:v>43658</c:v>
                </c:pt>
                <c:pt idx="297">
                  <c:v>43665</c:v>
                </c:pt>
                <c:pt idx="298">
                  <c:v>43672</c:v>
                </c:pt>
                <c:pt idx="299">
                  <c:v>43679</c:v>
                </c:pt>
                <c:pt idx="300">
                  <c:v>43686</c:v>
                </c:pt>
                <c:pt idx="301">
                  <c:v>43693</c:v>
                </c:pt>
                <c:pt idx="302">
                  <c:v>43700</c:v>
                </c:pt>
                <c:pt idx="303">
                  <c:v>43707</c:v>
                </c:pt>
                <c:pt idx="304">
                  <c:v>43714</c:v>
                </c:pt>
                <c:pt idx="305">
                  <c:v>43721</c:v>
                </c:pt>
                <c:pt idx="306">
                  <c:v>43728</c:v>
                </c:pt>
                <c:pt idx="307">
                  <c:v>43735</c:v>
                </c:pt>
                <c:pt idx="308">
                  <c:v>43742</c:v>
                </c:pt>
                <c:pt idx="309">
                  <c:v>43749</c:v>
                </c:pt>
                <c:pt idx="310">
                  <c:v>43756</c:v>
                </c:pt>
                <c:pt idx="311">
                  <c:v>43763</c:v>
                </c:pt>
                <c:pt idx="312">
                  <c:v>43770</c:v>
                </c:pt>
                <c:pt idx="313">
                  <c:v>43777</c:v>
                </c:pt>
                <c:pt idx="314">
                  <c:v>43784</c:v>
                </c:pt>
                <c:pt idx="315">
                  <c:v>43791</c:v>
                </c:pt>
                <c:pt idx="316">
                  <c:v>43798</c:v>
                </c:pt>
                <c:pt idx="317">
                  <c:v>43805</c:v>
                </c:pt>
                <c:pt idx="318">
                  <c:v>43812</c:v>
                </c:pt>
                <c:pt idx="319">
                  <c:v>43819</c:v>
                </c:pt>
                <c:pt idx="320">
                  <c:v>43826</c:v>
                </c:pt>
                <c:pt idx="321">
                  <c:v>43833</c:v>
                </c:pt>
                <c:pt idx="322">
                  <c:v>43840</c:v>
                </c:pt>
                <c:pt idx="323">
                  <c:v>43847</c:v>
                </c:pt>
                <c:pt idx="324">
                  <c:v>43854</c:v>
                </c:pt>
                <c:pt idx="325">
                  <c:v>43861</c:v>
                </c:pt>
                <c:pt idx="326">
                  <c:v>43868</c:v>
                </c:pt>
                <c:pt idx="327">
                  <c:v>43875</c:v>
                </c:pt>
                <c:pt idx="328">
                  <c:v>43882</c:v>
                </c:pt>
                <c:pt idx="329">
                  <c:v>43889</c:v>
                </c:pt>
                <c:pt idx="330">
                  <c:v>43896</c:v>
                </c:pt>
                <c:pt idx="331">
                  <c:v>43903</c:v>
                </c:pt>
                <c:pt idx="332">
                  <c:v>43910</c:v>
                </c:pt>
                <c:pt idx="333">
                  <c:v>43917</c:v>
                </c:pt>
                <c:pt idx="334">
                  <c:v>43924</c:v>
                </c:pt>
                <c:pt idx="335">
                  <c:v>43931</c:v>
                </c:pt>
                <c:pt idx="336">
                  <c:v>43938</c:v>
                </c:pt>
                <c:pt idx="337">
                  <c:v>43945</c:v>
                </c:pt>
                <c:pt idx="338">
                  <c:v>43952</c:v>
                </c:pt>
                <c:pt idx="339">
                  <c:v>43959</c:v>
                </c:pt>
                <c:pt idx="340">
                  <c:v>43966</c:v>
                </c:pt>
                <c:pt idx="341">
                  <c:v>43973</c:v>
                </c:pt>
                <c:pt idx="342">
                  <c:v>43980</c:v>
                </c:pt>
                <c:pt idx="343">
                  <c:v>43987</c:v>
                </c:pt>
                <c:pt idx="344">
                  <c:v>43994</c:v>
                </c:pt>
                <c:pt idx="345">
                  <c:v>44001</c:v>
                </c:pt>
                <c:pt idx="346">
                  <c:v>44008</c:v>
                </c:pt>
                <c:pt idx="347">
                  <c:v>44015</c:v>
                </c:pt>
                <c:pt idx="348">
                  <c:v>44022</c:v>
                </c:pt>
                <c:pt idx="349">
                  <c:v>44029</c:v>
                </c:pt>
                <c:pt idx="350">
                  <c:v>44036</c:v>
                </c:pt>
                <c:pt idx="351">
                  <c:v>44043</c:v>
                </c:pt>
                <c:pt idx="352">
                  <c:v>44050</c:v>
                </c:pt>
                <c:pt idx="353">
                  <c:v>44057</c:v>
                </c:pt>
                <c:pt idx="354">
                  <c:v>44064</c:v>
                </c:pt>
                <c:pt idx="355">
                  <c:v>44071</c:v>
                </c:pt>
                <c:pt idx="356">
                  <c:v>44078</c:v>
                </c:pt>
                <c:pt idx="357">
                  <c:v>44085</c:v>
                </c:pt>
                <c:pt idx="358">
                  <c:v>44092</c:v>
                </c:pt>
                <c:pt idx="359">
                  <c:v>44099</c:v>
                </c:pt>
                <c:pt idx="360">
                  <c:v>44106</c:v>
                </c:pt>
                <c:pt idx="361">
                  <c:v>44113</c:v>
                </c:pt>
                <c:pt idx="362">
                  <c:v>44120</c:v>
                </c:pt>
                <c:pt idx="363">
                  <c:v>44127</c:v>
                </c:pt>
                <c:pt idx="364">
                  <c:v>44134</c:v>
                </c:pt>
                <c:pt idx="365">
                  <c:v>44141</c:v>
                </c:pt>
                <c:pt idx="366">
                  <c:v>44148</c:v>
                </c:pt>
                <c:pt idx="367">
                  <c:v>44155</c:v>
                </c:pt>
                <c:pt idx="368">
                  <c:v>44162</c:v>
                </c:pt>
                <c:pt idx="369">
                  <c:v>44169</c:v>
                </c:pt>
                <c:pt idx="370">
                  <c:v>44176</c:v>
                </c:pt>
                <c:pt idx="371">
                  <c:v>44183</c:v>
                </c:pt>
                <c:pt idx="372">
                  <c:v>44190</c:v>
                </c:pt>
                <c:pt idx="373">
                  <c:v>44197</c:v>
                </c:pt>
                <c:pt idx="374">
                  <c:v>44204</c:v>
                </c:pt>
                <c:pt idx="375">
                  <c:v>44211</c:v>
                </c:pt>
                <c:pt idx="376">
                  <c:v>44218</c:v>
                </c:pt>
                <c:pt idx="377">
                  <c:v>44225</c:v>
                </c:pt>
                <c:pt idx="378">
                  <c:v>44232</c:v>
                </c:pt>
                <c:pt idx="379">
                  <c:v>44239</c:v>
                </c:pt>
                <c:pt idx="380">
                  <c:v>44246</c:v>
                </c:pt>
                <c:pt idx="381">
                  <c:v>44253</c:v>
                </c:pt>
                <c:pt idx="382">
                  <c:v>44260</c:v>
                </c:pt>
                <c:pt idx="383">
                  <c:v>44267</c:v>
                </c:pt>
                <c:pt idx="384">
                  <c:v>44274</c:v>
                </c:pt>
                <c:pt idx="385">
                  <c:v>44281</c:v>
                </c:pt>
                <c:pt idx="386">
                  <c:v>44288</c:v>
                </c:pt>
                <c:pt idx="387">
                  <c:v>44295</c:v>
                </c:pt>
                <c:pt idx="388">
                  <c:v>44302</c:v>
                </c:pt>
                <c:pt idx="389">
                  <c:v>44309</c:v>
                </c:pt>
                <c:pt idx="390">
                  <c:v>44316</c:v>
                </c:pt>
                <c:pt idx="391">
                  <c:v>44323</c:v>
                </c:pt>
                <c:pt idx="392">
                  <c:v>44330</c:v>
                </c:pt>
                <c:pt idx="393">
                  <c:v>44337</c:v>
                </c:pt>
                <c:pt idx="394">
                  <c:v>44344</c:v>
                </c:pt>
                <c:pt idx="395">
                  <c:v>44351</c:v>
                </c:pt>
                <c:pt idx="396">
                  <c:v>44358</c:v>
                </c:pt>
                <c:pt idx="397">
                  <c:v>44365</c:v>
                </c:pt>
                <c:pt idx="398">
                  <c:v>44372</c:v>
                </c:pt>
                <c:pt idx="399">
                  <c:v>44379</c:v>
                </c:pt>
                <c:pt idx="400">
                  <c:v>44386</c:v>
                </c:pt>
                <c:pt idx="401">
                  <c:v>44393</c:v>
                </c:pt>
                <c:pt idx="402">
                  <c:v>44400</c:v>
                </c:pt>
                <c:pt idx="403">
                  <c:v>44407</c:v>
                </c:pt>
                <c:pt idx="404">
                  <c:v>44414</c:v>
                </c:pt>
                <c:pt idx="405">
                  <c:v>44421</c:v>
                </c:pt>
                <c:pt idx="406">
                  <c:v>44428</c:v>
                </c:pt>
                <c:pt idx="407">
                  <c:v>44435</c:v>
                </c:pt>
                <c:pt idx="408">
                  <c:v>44442</c:v>
                </c:pt>
                <c:pt idx="409">
                  <c:v>44449</c:v>
                </c:pt>
                <c:pt idx="410">
                  <c:v>44456</c:v>
                </c:pt>
                <c:pt idx="411">
                  <c:v>44463</c:v>
                </c:pt>
                <c:pt idx="412">
                  <c:v>44470</c:v>
                </c:pt>
                <c:pt idx="413">
                  <c:v>44477</c:v>
                </c:pt>
                <c:pt idx="414">
                  <c:v>44484</c:v>
                </c:pt>
                <c:pt idx="415">
                  <c:v>44491</c:v>
                </c:pt>
                <c:pt idx="416">
                  <c:v>44498</c:v>
                </c:pt>
                <c:pt idx="417">
                  <c:v>44505</c:v>
                </c:pt>
                <c:pt idx="418">
                  <c:v>44512</c:v>
                </c:pt>
                <c:pt idx="419">
                  <c:v>44519</c:v>
                </c:pt>
                <c:pt idx="420">
                  <c:v>44526</c:v>
                </c:pt>
                <c:pt idx="421">
                  <c:v>44533</c:v>
                </c:pt>
                <c:pt idx="422">
                  <c:v>44540</c:v>
                </c:pt>
                <c:pt idx="423">
                  <c:v>44547</c:v>
                </c:pt>
                <c:pt idx="424">
                  <c:v>44554</c:v>
                </c:pt>
                <c:pt idx="425">
                  <c:v>44561</c:v>
                </c:pt>
                <c:pt idx="426">
                  <c:v>44568</c:v>
                </c:pt>
                <c:pt idx="427">
                  <c:v>44575</c:v>
                </c:pt>
                <c:pt idx="428">
                  <c:v>44582</c:v>
                </c:pt>
                <c:pt idx="429">
                  <c:v>44589</c:v>
                </c:pt>
                <c:pt idx="430">
                  <c:v>44596</c:v>
                </c:pt>
                <c:pt idx="431">
                  <c:v>44603</c:v>
                </c:pt>
                <c:pt idx="432">
                  <c:v>44610</c:v>
                </c:pt>
                <c:pt idx="433">
                  <c:v>44617</c:v>
                </c:pt>
                <c:pt idx="434">
                  <c:v>44624</c:v>
                </c:pt>
                <c:pt idx="435">
                  <c:v>44631</c:v>
                </c:pt>
                <c:pt idx="436">
                  <c:v>44638</c:v>
                </c:pt>
                <c:pt idx="437">
                  <c:v>44645</c:v>
                </c:pt>
                <c:pt idx="438">
                  <c:v>44652</c:v>
                </c:pt>
                <c:pt idx="439">
                  <c:v>44659</c:v>
                </c:pt>
                <c:pt idx="440">
                  <c:v>44666</c:v>
                </c:pt>
                <c:pt idx="441">
                  <c:v>44673</c:v>
                </c:pt>
                <c:pt idx="442">
                  <c:v>44680</c:v>
                </c:pt>
                <c:pt idx="443">
                  <c:v>44687</c:v>
                </c:pt>
                <c:pt idx="444">
                  <c:v>44694</c:v>
                </c:pt>
                <c:pt idx="445">
                  <c:v>44701</c:v>
                </c:pt>
                <c:pt idx="446">
                  <c:v>44708</c:v>
                </c:pt>
                <c:pt idx="447">
                  <c:v>44715</c:v>
                </c:pt>
                <c:pt idx="448">
                  <c:v>44722</c:v>
                </c:pt>
                <c:pt idx="449">
                  <c:v>44729</c:v>
                </c:pt>
                <c:pt idx="450">
                  <c:v>44736</c:v>
                </c:pt>
                <c:pt idx="451">
                  <c:v>44743</c:v>
                </c:pt>
                <c:pt idx="452">
                  <c:v>44750</c:v>
                </c:pt>
                <c:pt idx="453">
                  <c:v>44757</c:v>
                </c:pt>
                <c:pt idx="454">
                  <c:v>44764</c:v>
                </c:pt>
                <c:pt idx="455">
                  <c:v>44771</c:v>
                </c:pt>
                <c:pt idx="456">
                  <c:v>44778</c:v>
                </c:pt>
                <c:pt idx="457">
                  <c:v>44785</c:v>
                </c:pt>
                <c:pt idx="458">
                  <c:v>44792</c:v>
                </c:pt>
                <c:pt idx="459">
                  <c:v>44799</c:v>
                </c:pt>
                <c:pt idx="460">
                  <c:v>44806</c:v>
                </c:pt>
                <c:pt idx="461">
                  <c:v>44813</c:v>
                </c:pt>
                <c:pt idx="462">
                  <c:v>44820</c:v>
                </c:pt>
                <c:pt idx="463">
                  <c:v>44827</c:v>
                </c:pt>
                <c:pt idx="464">
                  <c:v>44834</c:v>
                </c:pt>
                <c:pt idx="465">
                  <c:v>44841</c:v>
                </c:pt>
                <c:pt idx="466">
                  <c:v>44848</c:v>
                </c:pt>
                <c:pt idx="467">
                  <c:v>44855</c:v>
                </c:pt>
                <c:pt idx="468">
                  <c:v>44862</c:v>
                </c:pt>
                <c:pt idx="469">
                  <c:v>44869</c:v>
                </c:pt>
                <c:pt idx="470">
                  <c:v>44876</c:v>
                </c:pt>
                <c:pt idx="471">
                  <c:v>44883</c:v>
                </c:pt>
                <c:pt idx="472">
                  <c:v>44890</c:v>
                </c:pt>
                <c:pt idx="473">
                  <c:v>44897</c:v>
                </c:pt>
                <c:pt idx="474">
                  <c:v>44904</c:v>
                </c:pt>
                <c:pt idx="475">
                  <c:v>44911</c:v>
                </c:pt>
                <c:pt idx="476">
                  <c:v>44918</c:v>
                </c:pt>
                <c:pt idx="477">
                  <c:v>44925</c:v>
                </c:pt>
                <c:pt idx="478">
                  <c:v>44932</c:v>
                </c:pt>
                <c:pt idx="479">
                  <c:v>44939</c:v>
                </c:pt>
                <c:pt idx="480">
                  <c:v>44946</c:v>
                </c:pt>
                <c:pt idx="481">
                  <c:v>44953</c:v>
                </c:pt>
                <c:pt idx="482">
                  <c:v>44960</c:v>
                </c:pt>
                <c:pt idx="483">
                  <c:v>44967</c:v>
                </c:pt>
                <c:pt idx="484">
                  <c:v>44974</c:v>
                </c:pt>
                <c:pt idx="485">
                  <c:v>44981</c:v>
                </c:pt>
                <c:pt idx="486">
                  <c:v>44988</c:v>
                </c:pt>
                <c:pt idx="487">
                  <c:v>44995</c:v>
                </c:pt>
                <c:pt idx="488">
                  <c:v>45002</c:v>
                </c:pt>
                <c:pt idx="489">
                  <c:v>45009</c:v>
                </c:pt>
                <c:pt idx="490">
                  <c:v>45016</c:v>
                </c:pt>
                <c:pt idx="491">
                  <c:v>45023</c:v>
                </c:pt>
                <c:pt idx="492">
                  <c:v>45030</c:v>
                </c:pt>
                <c:pt idx="493">
                  <c:v>45037</c:v>
                </c:pt>
                <c:pt idx="494">
                  <c:v>45044</c:v>
                </c:pt>
                <c:pt idx="495">
                  <c:v>45051</c:v>
                </c:pt>
                <c:pt idx="496">
                  <c:v>45058</c:v>
                </c:pt>
                <c:pt idx="497">
                  <c:v>45065</c:v>
                </c:pt>
                <c:pt idx="498">
                  <c:v>45072</c:v>
                </c:pt>
                <c:pt idx="499">
                  <c:v>45079</c:v>
                </c:pt>
                <c:pt idx="500">
                  <c:v>45086</c:v>
                </c:pt>
                <c:pt idx="501">
                  <c:v>45093</c:v>
                </c:pt>
                <c:pt idx="502">
                  <c:v>45100</c:v>
                </c:pt>
                <c:pt idx="503">
                  <c:v>45107</c:v>
                </c:pt>
                <c:pt idx="504">
                  <c:v>45114</c:v>
                </c:pt>
                <c:pt idx="505">
                  <c:v>45121</c:v>
                </c:pt>
                <c:pt idx="506">
                  <c:v>45128</c:v>
                </c:pt>
                <c:pt idx="507">
                  <c:v>45135</c:v>
                </c:pt>
                <c:pt idx="508">
                  <c:v>45142</c:v>
                </c:pt>
                <c:pt idx="509">
                  <c:v>45149</c:v>
                </c:pt>
                <c:pt idx="510">
                  <c:v>45156</c:v>
                </c:pt>
                <c:pt idx="511">
                  <c:v>45163</c:v>
                </c:pt>
                <c:pt idx="512">
                  <c:v>45170</c:v>
                </c:pt>
                <c:pt idx="513">
                  <c:v>45177</c:v>
                </c:pt>
                <c:pt idx="514">
                  <c:v>45184</c:v>
                </c:pt>
                <c:pt idx="515">
                  <c:v>45191</c:v>
                </c:pt>
                <c:pt idx="516">
                  <c:v>45198</c:v>
                </c:pt>
                <c:pt idx="517">
                  <c:v>45205</c:v>
                </c:pt>
                <c:pt idx="518">
                  <c:v>45212</c:v>
                </c:pt>
                <c:pt idx="519">
                  <c:v>45219</c:v>
                </c:pt>
                <c:pt idx="520">
                  <c:v>45226</c:v>
                </c:pt>
                <c:pt idx="521">
                  <c:v>45233</c:v>
                </c:pt>
                <c:pt idx="522">
                  <c:v>45236</c:v>
                </c:pt>
              </c:numCache>
            </c:numRef>
          </c:cat>
          <c:val>
            <c:numRef>
              <c:f>Hoja1!$B$2:$B$524</c:f>
              <c:numCache>
                <c:formatCode>0.00%</c:formatCode>
                <c:ptCount val="523"/>
                <c:pt idx="0">
                  <c:v>2.7490000000000001E-2</c:v>
                </c:pt>
                <c:pt idx="1">
                  <c:v>2.7040000000000002E-2</c:v>
                </c:pt>
                <c:pt idx="2">
                  <c:v>2.7440000000000003E-2</c:v>
                </c:pt>
                <c:pt idx="3">
                  <c:v>2.7450000000000002E-2</c:v>
                </c:pt>
                <c:pt idx="4">
                  <c:v>2.8559999999999999E-2</c:v>
                </c:pt>
                <c:pt idx="5">
                  <c:v>2.8660000000000001E-2</c:v>
                </c:pt>
                <c:pt idx="6">
                  <c:v>2.8900000000000002E-2</c:v>
                </c:pt>
                <c:pt idx="7">
                  <c:v>3.0009999999999998E-2</c:v>
                </c:pt>
                <c:pt idx="8">
                  <c:v>2.9960000000000001E-2</c:v>
                </c:pt>
                <c:pt idx="9">
                  <c:v>2.8590000000000001E-2</c:v>
                </c:pt>
                <c:pt idx="10">
                  <c:v>2.8199999999999999E-2</c:v>
                </c:pt>
                <c:pt idx="11">
                  <c:v>2.7160000000000004E-2</c:v>
                </c:pt>
                <c:pt idx="12">
                  <c:v>2.6450000000000001E-2</c:v>
                </c:pt>
                <c:pt idx="13">
                  <c:v>2.6840000000000003E-2</c:v>
                </c:pt>
                <c:pt idx="14">
                  <c:v>2.7440000000000003E-2</c:v>
                </c:pt>
                <c:pt idx="15">
                  <c:v>2.7320000000000001E-2</c:v>
                </c:pt>
                <c:pt idx="16">
                  <c:v>2.648E-2</c:v>
                </c:pt>
                <c:pt idx="17">
                  <c:v>2.7890000000000002E-2</c:v>
                </c:pt>
                <c:pt idx="18">
                  <c:v>2.6549999999999997E-2</c:v>
                </c:pt>
                <c:pt idx="19">
                  <c:v>2.743E-2</c:v>
                </c:pt>
                <c:pt idx="20">
                  <c:v>2.7220000000000001E-2</c:v>
                </c:pt>
                <c:pt idx="21">
                  <c:v>2.7220000000000001E-2</c:v>
                </c:pt>
                <c:pt idx="22">
                  <c:v>2.6259999999999999E-2</c:v>
                </c:pt>
                <c:pt idx="23">
                  <c:v>2.7220000000000001E-2</c:v>
                </c:pt>
                <c:pt idx="24">
                  <c:v>2.6629999999999997E-2</c:v>
                </c:pt>
                <c:pt idx="25">
                  <c:v>2.5849999999999998E-2</c:v>
                </c:pt>
                <c:pt idx="26">
                  <c:v>2.6239999999999999E-2</c:v>
                </c:pt>
                <c:pt idx="27">
                  <c:v>2.5239999999999999E-2</c:v>
                </c:pt>
                <c:pt idx="28">
                  <c:v>2.5329999999999998E-2</c:v>
                </c:pt>
                <c:pt idx="29">
                  <c:v>2.477E-2</c:v>
                </c:pt>
                <c:pt idx="30">
                  <c:v>2.588E-2</c:v>
                </c:pt>
                <c:pt idx="31">
                  <c:v>2.6040000000000001E-2</c:v>
                </c:pt>
                <c:pt idx="32">
                  <c:v>2.606E-2</c:v>
                </c:pt>
                <c:pt idx="33">
                  <c:v>2.5350000000000001E-2</c:v>
                </c:pt>
                <c:pt idx="34">
                  <c:v>2.6389999999999997E-2</c:v>
                </c:pt>
                <c:pt idx="35">
                  <c:v>2.5169999999999998E-2</c:v>
                </c:pt>
                <c:pt idx="36">
                  <c:v>2.4820000000000002E-2</c:v>
                </c:pt>
                <c:pt idx="37">
                  <c:v>2.4660000000000001E-2</c:v>
                </c:pt>
                <c:pt idx="38">
                  <c:v>2.4929999999999997E-2</c:v>
                </c:pt>
                <c:pt idx="39">
                  <c:v>2.4209999999999999E-2</c:v>
                </c:pt>
                <c:pt idx="40">
                  <c:v>2.341E-2</c:v>
                </c:pt>
                <c:pt idx="41">
                  <c:v>2.4029999999999999E-2</c:v>
                </c:pt>
                <c:pt idx="42">
                  <c:v>2.3439999999999999E-2</c:v>
                </c:pt>
                <c:pt idx="43">
                  <c:v>2.46E-2</c:v>
                </c:pt>
                <c:pt idx="44">
                  <c:v>2.6110000000000001E-2</c:v>
                </c:pt>
                <c:pt idx="45">
                  <c:v>2.5750000000000002E-2</c:v>
                </c:pt>
                <c:pt idx="46">
                  <c:v>2.529E-2</c:v>
                </c:pt>
                <c:pt idx="47">
                  <c:v>2.435E-2</c:v>
                </c:pt>
                <c:pt idx="48">
                  <c:v>2.281E-2</c:v>
                </c:pt>
                <c:pt idx="49">
                  <c:v>2.1940000000000001E-2</c:v>
                </c:pt>
                <c:pt idx="50">
                  <c:v>2.2690000000000002E-2</c:v>
                </c:pt>
                <c:pt idx="51">
                  <c:v>2.3359999999999999E-2</c:v>
                </c:pt>
                <c:pt idx="52">
                  <c:v>2.298E-2</c:v>
                </c:pt>
                <c:pt idx="53">
                  <c:v>2.3210000000000001E-2</c:v>
                </c:pt>
                <c:pt idx="54">
                  <c:v>2.3109999999999999E-2</c:v>
                </c:pt>
                <c:pt idx="55">
                  <c:v>2.1649999999999999E-2</c:v>
                </c:pt>
                <c:pt idx="56">
                  <c:v>2.307E-2</c:v>
                </c:pt>
                <c:pt idx="57">
                  <c:v>2.0830000000000001E-2</c:v>
                </c:pt>
                <c:pt idx="58">
                  <c:v>2.1629999999999996E-2</c:v>
                </c:pt>
                <c:pt idx="59">
                  <c:v>2.2509999999999999E-2</c:v>
                </c:pt>
                <c:pt idx="60">
                  <c:v>2.1110000000000004E-2</c:v>
                </c:pt>
                <c:pt idx="61">
                  <c:v>1.9459999999999998E-2</c:v>
                </c:pt>
                <c:pt idx="62">
                  <c:v>1.8380000000000001E-2</c:v>
                </c:pt>
                <c:pt idx="63">
                  <c:v>1.7979999999999999E-2</c:v>
                </c:pt>
                <c:pt idx="64">
                  <c:v>1.6420000000000001E-2</c:v>
                </c:pt>
                <c:pt idx="65">
                  <c:v>1.958E-2</c:v>
                </c:pt>
                <c:pt idx="66">
                  <c:v>2.051E-2</c:v>
                </c:pt>
                <c:pt idx="67">
                  <c:v>2.1129999999999999E-2</c:v>
                </c:pt>
                <c:pt idx="68">
                  <c:v>1.9939999999999999E-2</c:v>
                </c:pt>
                <c:pt idx="69">
                  <c:v>2.2419999999999999E-2</c:v>
                </c:pt>
                <c:pt idx="70">
                  <c:v>2.1150000000000002E-2</c:v>
                </c:pt>
                <c:pt idx="71">
                  <c:v>1.9310000000000001E-2</c:v>
                </c:pt>
                <c:pt idx="72">
                  <c:v>1.9619999999999999E-2</c:v>
                </c:pt>
                <c:pt idx="73">
                  <c:v>1.84E-2</c:v>
                </c:pt>
                <c:pt idx="74">
                  <c:v>1.9480000000000001E-2</c:v>
                </c:pt>
                <c:pt idx="75">
                  <c:v>1.866E-2</c:v>
                </c:pt>
                <c:pt idx="76">
                  <c:v>1.9089999999999999E-2</c:v>
                </c:pt>
                <c:pt idx="77">
                  <c:v>2.1139999999999999E-2</c:v>
                </c:pt>
                <c:pt idx="78">
                  <c:v>2.1489999999999999E-2</c:v>
                </c:pt>
                <c:pt idx="79">
                  <c:v>2.1429999999999998E-2</c:v>
                </c:pt>
                <c:pt idx="80">
                  <c:v>2.2099999999999998E-2</c:v>
                </c:pt>
                <c:pt idx="81">
                  <c:v>2.1219999999999999E-2</c:v>
                </c:pt>
                <c:pt idx="82">
                  <c:v>2.4080000000000001E-2</c:v>
                </c:pt>
                <c:pt idx="83">
                  <c:v>2.3929999999999996E-2</c:v>
                </c:pt>
                <c:pt idx="84">
                  <c:v>2.2589999999999999E-2</c:v>
                </c:pt>
                <c:pt idx="85">
                  <c:v>2.4740000000000002E-2</c:v>
                </c:pt>
                <c:pt idx="86">
                  <c:v>2.383E-2</c:v>
                </c:pt>
                <c:pt idx="87">
                  <c:v>2.3980000000000001E-2</c:v>
                </c:pt>
                <c:pt idx="88">
                  <c:v>2.3479999999999997E-2</c:v>
                </c:pt>
                <c:pt idx="89">
                  <c:v>2.2629999999999997E-2</c:v>
                </c:pt>
                <c:pt idx="90">
                  <c:v>2.181E-2</c:v>
                </c:pt>
                <c:pt idx="91">
                  <c:v>2.1629999999999996E-2</c:v>
                </c:pt>
                <c:pt idx="92">
                  <c:v>2.1989999999999999E-2</c:v>
                </c:pt>
                <c:pt idx="93">
                  <c:v>2.0369999999999999E-2</c:v>
                </c:pt>
                <c:pt idx="94">
                  <c:v>2.1819999999999999E-2</c:v>
                </c:pt>
                <c:pt idx="95">
                  <c:v>2.1250000000000002E-2</c:v>
                </c:pt>
                <c:pt idx="96">
                  <c:v>2.189E-2</c:v>
                </c:pt>
                <c:pt idx="97">
                  <c:v>2.1339999999999998E-2</c:v>
                </c:pt>
                <c:pt idx="98">
                  <c:v>2.1629999999999996E-2</c:v>
                </c:pt>
                <c:pt idx="99">
                  <c:v>1.9939999999999999E-2</c:v>
                </c:pt>
                <c:pt idx="100">
                  <c:v>2.0889999999999999E-2</c:v>
                </c:pt>
                <c:pt idx="101">
                  <c:v>2.0339999999999997E-2</c:v>
                </c:pt>
                <c:pt idx="102">
                  <c:v>2.0879999999999999E-2</c:v>
                </c:pt>
                <c:pt idx="103">
                  <c:v>2.1429999999999998E-2</c:v>
                </c:pt>
                <c:pt idx="104">
                  <c:v>2.3259999999999999E-2</c:v>
                </c:pt>
                <c:pt idx="105">
                  <c:v>2.2669999999999999E-2</c:v>
                </c:pt>
                <c:pt idx="106">
                  <c:v>2.2629999999999997E-2</c:v>
                </c:pt>
                <c:pt idx="107">
                  <c:v>2.2210000000000001E-2</c:v>
                </c:pt>
                <c:pt idx="108">
                  <c:v>2.2700000000000001E-2</c:v>
                </c:pt>
                <c:pt idx="109">
                  <c:v>2.128E-2</c:v>
                </c:pt>
                <c:pt idx="110">
                  <c:v>2.205E-2</c:v>
                </c:pt>
                <c:pt idx="111">
                  <c:v>2.2419999999999999E-2</c:v>
                </c:pt>
                <c:pt idx="112">
                  <c:v>2.2700000000000001E-2</c:v>
                </c:pt>
                <c:pt idx="113">
                  <c:v>2.1160000000000002E-2</c:v>
                </c:pt>
                <c:pt idx="114">
                  <c:v>2.036E-2</c:v>
                </c:pt>
                <c:pt idx="115">
                  <c:v>2.053E-2</c:v>
                </c:pt>
                <c:pt idx="116">
                  <c:v>1.9220000000000001E-2</c:v>
                </c:pt>
                <c:pt idx="117">
                  <c:v>1.8370000000000001E-2</c:v>
                </c:pt>
                <c:pt idx="118">
                  <c:v>1.7490000000000002E-2</c:v>
                </c:pt>
                <c:pt idx="119">
                  <c:v>1.746E-2</c:v>
                </c:pt>
                <c:pt idx="120">
                  <c:v>1.763E-2</c:v>
                </c:pt>
                <c:pt idx="121">
                  <c:v>1.8749999999999999E-2</c:v>
                </c:pt>
                <c:pt idx="122">
                  <c:v>1.985E-2</c:v>
                </c:pt>
                <c:pt idx="123">
                  <c:v>1.874E-2</c:v>
                </c:pt>
                <c:pt idx="124">
                  <c:v>1.9009999999999999E-2</c:v>
                </c:pt>
                <c:pt idx="125">
                  <c:v>1.771E-2</c:v>
                </c:pt>
                <c:pt idx="126">
                  <c:v>1.7180000000000001E-2</c:v>
                </c:pt>
                <c:pt idx="127">
                  <c:v>1.753E-2</c:v>
                </c:pt>
                <c:pt idx="128">
                  <c:v>1.8890000000000001E-2</c:v>
                </c:pt>
                <c:pt idx="129">
                  <c:v>1.8340000000000002E-2</c:v>
                </c:pt>
                <c:pt idx="130">
                  <c:v>1.78E-2</c:v>
                </c:pt>
                <c:pt idx="131">
                  <c:v>1.7010000000000001E-2</c:v>
                </c:pt>
                <c:pt idx="132">
                  <c:v>1.839E-2</c:v>
                </c:pt>
                <c:pt idx="133">
                  <c:v>1.8520000000000002E-2</c:v>
                </c:pt>
                <c:pt idx="134">
                  <c:v>1.7010000000000001E-2</c:v>
                </c:pt>
                <c:pt idx="135">
                  <c:v>1.6410000000000001E-2</c:v>
                </c:pt>
                <c:pt idx="136">
                  <c:v>1.609E-2</c:v>
                </c:pt>
                <c:pt idx="137">
                  <c:v>1.5609999999999999E-2</c:v>
                </c:pt>
                <c:pt idx="138">
                  <c:v>1.4450000000000001E-2</c:v>
                </c:pt>
                <c:pt idx="139">
                  <c:v>1.359E-2</c:v>
                </c:pt>
                <c:pt idx="140">
                  <c:v>1.5520000000000001E-2</c:v>
                </c:pt>
                <c:pt idx="141">
                  <c:v>1.567E-2</c:v>
                </c:pt>
                <c:pt idx="142">
                  <c:v>1.4539999999999999E-2</c:v>
                </c:pt>
                <c:pt idx="143">
                  <c:v>1.5890000000000001E-2</c:v>
                </c:pt>
                <c:pt idx="144">
                  <c:v>1.5140000000000001E-2</c:v>
                </c:pt>
                <c:pt idx="145">
                  <c:v>1.5789999999999998E-2</c:v>
                </c:pt>
                <c:pt idx="146">
                  <c:v>1.6299999999999999E-2</c:v>
                </c:pt>
                <c:pt idx="147">
                  <c:v>1.6029999999999999E-2</c:v>
                </c:pt>
                <c:pt idx="148">
                  <c:v>1.6760000000000001E-2</c:v>
                </c:pt>
                <c:pt idx="149">
                  <c:v>1.6930000000000001E-2</c:v>
                </c:pt>
                <c:pt idx="150">
                  <c:v>1.619E-2</c:v>
                </c:pt>
                <c:pt idx="151">
                  <c:v>1.5949999999999999E-2</c:v>
                </c:pt>
                <c:pt idx="152">
                  <c:v>1.719E-2</c:v>
                </c:pt>
                <c:pt idx="153">
                  <c:v>1.7989999999999999E-2</c:v>
                </c:pt>
                <c:pt idx="154">
                  <c:v>1.736E-2</c:v>
                </c:pt>
                <c:pt idx="155">
                  <c:v>1.848E-2</c:v>
                </c:pt>
                <c:pt idx="156">
                  <c:v>1.7769999999999998E-2</c:v>
                </c:pt>
                <c:pt idx="157">
                  <c:v>2.1509999999999998E-2</c:v>
                </c:pt>
                <c:pt idx="158">
                  <c:v>2.3559999999999998E-2</c:v>
                </c:pt>
                <c:pt idx="159">
                  <c:v>2.358E-2</c:v>
                </c:pt>
                <c:pt idx="160">
                  <c:v>2.384E-2</c:v>
                </c:pt>
                <c:pt idx="161">
                  <c:v>2.4680000000000001E-2</c:v>
                </c:pt>
                <c:pt idx="162">
                  <c:v>2.5929999999999998E-2</c:v>
                </c:pt>
                <c:pt idx="163">
                  <c:v>2.538E-2</c:v>
                </c:pt>
                <c:pt idx="164">
                  <c:v>2.445E-2</c:v>
                </c:pt>
                <c:pt idx="165">
                  <c:v>2.4199999999999999E-2</c:v>
                </c:pt>
                <c:pt idx="166">
                  <c:v>2.3969999999999998E-2</c:v>
                </c:pt>
                <c:pt idx="167">
                  <c:v>2.4680000000000001E-2</c:v>
                </c:pt>
                <c:pt idx="168">
                  <c:v>2.4849999999999997E-2</c:v>
                </c:pt>
                <c:pt idx="169">
                  <c:v>2.4660000000000001E-2</c:v>
                </c:pt>
                <c:pt idx="170">
                  <c:v>2.4080000000000001E-2</c:v>
                </c:pt>
                <c:pt idx="171">
                  <c:v>2.4160000000000001E-2</c:v>
                </c:pt>
                <c:pt idx="172">
                  <c:v>2.3130000000000001E-2</c:v>
                </c:pt>
                <c:pt idx="173">
                  <c:v>2.479E-2</c:v>
                </c:pt>
                <c:pt idx="174">
                  <c:v>2.5750000000000002E-2</c:v>
                </c:pt>
                <c:pt idx="175">
                  <c:v>2.5009999999999998E-2</c:v>
                </c:pt>
                <c:pt idx="176">
                  <c:v>2.4129999999999999E-2</c:v>
                </c:pt>
                <c:pt idx="177">
                  <c:v>2.3879999999999998E-2</c:v>
                </c:pt>
                <c:pt idx="178">
                  <c:v>2.383E-2</c:v>
                </c:pt>
                <c:pt idx="179">
                  <c:v>2.2380000000000001E-2</c:v>
                </c:pt>
                <c:pt idx="180">
                  <c:v>2.249E-2</c:v>
                </c:pt>
                <c:pt idx="181">
                  <c:v>2.281E-2</c:v>
                </c:pt>
                <c:pt idx="182">
                  <c:v>2.35E-2</c:v>
                </c:pt>
                <c:pt idx="183">
                  <c:v>2.3269999999999999E-2</c:v>
                </c:pt>
                <c:pt idx="184">
                  <c:v>2.2349999999999998E-2</c:v>
                </c:pt>
                <c:pt idx="185">
                  <c:v>2.247E-2</c:v>
                </c:pt>
                <c:pt idx="186">
                  <c:v>2.1600000000000001E-2</c:v>
                </c:pt>
                <c:pt idx="187">
                  <c:v>2.2010000000000002E-2</c:v>
                </c:pt>
                <c:pt idx="188">
                  <c:v>2.1520000000000001E-2</c:v>
                </c:pt>
                <c:pt idx="189">
                  <c:v>2.1429999999999998E-2</c:v>
                </c:pt>
                <c:pt idx="190">
                  <c:v>2.3050000000000001E-2</c:v>
                </c:pt>
                <c:pt idx="191">
                  <c:v>2.3860000000000003E-2</c:v>
                </c:pt>
                <c:pt idx="192">
                  <c:v>2.3330000000000004E-2</c:v>
                </c:pt>
                <c:pt idx="193">
                  <c:v>2.2380000000000001E-2</c:v>
                </c:pt>
                <c:pt idx="194">
                  <c:v>2.29E-2</c:v>
                </c:pt>
                <c:pt idx="195">
                  <c:v>2.2629999999999997E-2</c:v>
                </c:pt>
                <c:pt idx="196">
                  <c:v>2.1899999999999999E-2</c:v>
                </c:pt>
                <c:pt idx="197">
                  <c:v>2.1949999999999997E-2</c:v>
                </c:pt>
                <c:pt idx="198">
                  <c:v>2.1669999999999998E-2</c:v>
                </c:pt>
                <c:pt idx="199">
                  <c:v>2.1669999999999998E-2</c:v>
                </c:pt>
                <c:pt idx="200">
                  <c:v>2.052E-2</c:v>
                </c:pt>
                <c:pt idx="201">
                  <c:v>2.2029999999999998E-2</c:v>
                </c:pt>
                <c:pt idx="202">
                  <c:v>2.2509999999999999E-2</c:v>
                </c:pt>
                <c:pt idx="203">
                  <c:v>2.334E-2</c:v>
                </c:pt>
                <c:pt idx="204">
                  <c:v>2.3599999999999999E-2</c:v>
                </c:pt>
                <c:pt idx="205">
                  <c:v>2.274E-2</c:v>
                </c:pt>
                <c:pt idx="206">
                  <c:v>2.3849999999999996E-2</c:v>
                </c:pt>
                <c:pt idx="207">
                  <c:v>2.4070000000000001E-2</c:v>
                </c:pt>
                <c:pt idx="208">
                  <c:v>2.3330000000000004E-2</c:v>
                </c:pt>
                <c:pt idx="209">
                  <c:v>2.3990000000000001E-2</c:v>
                </c:pt>
                <c:pt idx="210">
                  <c:v>2.3439999999999999E-2</c:v>
                </c:pt>
                <c:pt idx="211">
                  <c:v>2.3429999999999999E-2</c:v>
                </c:pt>
                <c:pt idx="212">
                  <c:v>2.3620000000000002E-2</c:v>
                </c:pt>
                <c:pt idx="213">
                  <c:v>2.3769999999999999E-2</c:v>
                </c:pt>
                <c:pt idx="214">
                  <c:v>2.3540000000000002E-2</c:v>
                </c:pt>
                <c:pt idx="215">
                  <c:v>2.4820000000000002E-2</c:v>
                </c:pt>
                <c:pt idx="216">
                  <c:v>2.4060000000000002E-2</c:v>
                </c:pt>
                <c:pt idx="217">
                  <c:v>2.477E-2</c:v>
                </c:pt>
                <c:pt idx="218">
                  <c:v>2.5479999999999999E-2</c:v>
                </c:pt>
                <c:pt idx="219">
                  <c:v>2.6600000000000002E-2</c:v>
                </c:pt>
                <c:pt idx="220">
                  <c:v>2.6610000000000002E-2</c:v>
                </c:pt>
                <c:pt idx="221">
                  <c:v>2.8420000000000001E-2</c:v>
                </c:pt>
                <c:pt idx="222">
                  <c:v>2.852E-2</c:v>
                </c:pt>
                <c:pt idx="223">
                  <c:v>2.8759999999999997E-2</c:v>
                </c:pt>
                <c:pt idx="224">
                  <c:v>2.8679999999999997E-2</c:v>
                </c:pt>
                <c:pt idx="225">
                  <c:v>2.8650000000000002E-2</c:v>
                </c:pt>
                <c:pt idx="226">
                  <c:v>2.895E-2</c:v>
                </c:pt>
                <c:pt idx="227">
                  <c:v>2.8450000000000003E-2</c:v>
                </c:pt>
                <c:pt idx="228">
                  <c:v>2.8140000000000002E-2</c:v>
                </c:pt>
                <c:pt idx="229">
                  <c:v>2.7400000000000001E-2</c:v>
                </c:pt>
                <c:pt idx="230">
                  <c:v>2.7740000000000001E-2</c:v>
                </c:pt>
                <c:pt idx="231">
                  <c:v>2.828E-2</c:v>
                </c:pt>
                <c:pt idx="232">
                  <c:v>2.9609999999999997E-2</c:v>
                </c:pt>
                <c:pt idx="233">
                  <c:v>2.9580000000000002E-2</c:v>
                </c:pt>
                <c:pt idx="234">
                  <c:v>2.9510000000000002E-2</c:v>
                </c:pt>
                <c:pt idx="235">
                  <c:v>2.971E-2</c:v>
                </c:pt>
                <c:pt idx="236">
                  <c:v>3.057E-2</c:v>
                </c:pt>
                <c:pt idx="237">
                  <c:v>2.9319999999999999E-2</c:v>
                </c:pt>
                <c:pt idx="238">
                  <c:v>2.903E-2</c:v>
                </c:pt>
                <c:pt idx="239">
                  <c:v>2.947E-2</c:v>
                </c:pt>
                <c:pt idx="240">
                  <c:v>2.921E-2</c:v>
                </c:pt>
                <c:pt idx="241">
                  <c:v>2.896E-2</c:v>
                </c:pt>
                <c:pt idx="242">
                  <c:v>2.8610000000000003E-2</c:v>
                </c:pt>
                <c:pt idx="243">
                  <c:v>2.8229999999999998E-2</c:v>
                </c:pt>
                <c:pt idx="244">
                  <c:v>2.828E-2</c:v>
                </c:pt>
                <c:pt idx="245">
                  <c:v>2.894E-2</c:v>
                </c:pt>
                <c:pt idx="246">
                  <c:v>2.955E-2</c:v>
                </c:pt>
                <c:pt idx="247">
                  <c:v>2.9500000000000002E-2</c:v>
                </c:pt>
                <c:pt idx="248">
                  <c:v>2.8740000000000002E-2</c:v>
                </c:pt>
                <c:pt idx="249">
                  <c:v>2.8610000000000003E-2</c:v>
                </c:pt>
                <c:pt idx="250">
                  <c:v>2.811E-2</c:v>
                </c:pt>
                <c:pt idx="251">
                  <c:v>2.8610000000000003E-2</c:v>
                </c:pt>
                <c:pt idx="252">
                  <c:v>2.9409999999999999E-2</c:v>
                </c:pt>
                <c:pt idx="253">
                  <c:v>2.997E-2</c:v>
                </c:pt>
                <c:pt idx="254">
                  <c:v>3.0640000000000001E-2</c:v>
                </c:pt>
                <c:pt idx="255">
                  <c:v>3.0619999999999998E-2</c:v>
                </c:pt>
                <c:pt idx="256">
                  <c:v>3.2340000000000001E-2</c:v>
                </c:pt>
                <c:pt idx="257">
                  <c:v>3.1620000000000002E-2</c:v>
                </c:pt>
                <c:pt idx="258">
                  <c:v>3.193E-2</c:v>
                </c:pt>
                <c:pt idx="259">
                  <c:v>3.0759999999999999E-2</c:v>
                </c:pt>
                <c:pt idx="260">
                  <c:v>3.2129999999999999E-2</c:v>
                </c:pt>
                <c:pt idx="261">
                  <c:v>3.1829999999999997E-2</c:v>
                </c:pt>
                <c:pt idx="262">
                  <c:v>3.0640000000000001E-2</c:v>
                </c:pt>
                <c:pt idx="263">
                  <c:v>3.041E-2</c:v>
                </c:pt>
                <c:pt idx="264">
                  <c:v>2.989E-2</c:v>
                </c:pt>
                <c:pt idx="265">
                  <c:v>2.8469999999999999E-2</c:v>
                </c:pt>
                <c:pt idx="266">
                  <c:v>2.8910000000000002E-2</c:v>
                </c:pt>
                <c:pt idx="267">
                  <c:v>2.7919999999999997E-2</c:v>
                </c:pt>
                <c:pt idx="268">
                  <c:v>2.7200000000000002E-2</c:v>
                </c:pt>
                <c:pt idx="269">
                  <c:v>2.6690000000000002E-2</c:v>
                </c:pt>
                <c:pt idx="270">
                  <c:v>2.7019999999999999E-2</c:v>
                </c:pt>
                <c:pt idx="271">
                  <c:v>2.785E-2</c:v>
                </c:pt>
                <c:pt idx="272">
                  <c:v>2.759E-2</c:v>
                </c:pt>
                <c:pt idx="273">
                  <c:v>2.6849999999999999E-2</c:v>
                </c:pt>
                <c:pt idx="274">
                  <c:v>2.6360000000000001E-2</c:v>
                </c:pt>
                <c:pt idx="275">
                  <c:v>2.664E-2</c:v>
                </c:pt>
                <c:pt idx="276">
                  <c:v>2.6539999999999998E-2</c:v>
                </c:pt>
                <c:pt idx="277">
                  <c:v>2.7549999999999998E-2</c:v>
                </c:pt>
                <c:pt idx="278">
                  <c:v>2.63E-2</c:v>
                </c:pt>
                <c:pt idx="279">
                  <c:v>2.589E-2</c:v>
                </c:pt>
                <c:pt idx="280">
                  <c:v>2.4409999999999998E-2</c:v>
                </c:pt>
                <c:pt idx="281">
                  <c:v>2.4060000000000002E-2</c:v>
                </c:pt>
                <c:pt idx="282">
                  <c:v>2.496E-2</c:v>
                </c:pt>
                <c:pt idx="283">
                  <c:v>2.5659999999999999E-2</c:v>
                </c:pt>
                <c:pt idx="284">
                  <c:v>2.5610000000000001E-2</c:v>
                </c:pt>
                <c:pt idx="285">
                  <c:v>2.4990000000000002E-2</c:v>
                </c:pt>
                <c:pt idx="286">
                  <c:v>2.5259999999999998E-2</c:v>
                </c:pt>
                <c:pt idx="287">
                  <c:v>2.4680000000000001E-2</c:v>
                </c:pt>
                <c:pt idx="288">
                  <c:v>2.392E-2</c:v>
                </c:pt>
                <c:pt idx="289">
                  <c:v>2.3210000000000001E-2</c:v>
                </c:pt>
                <c:pt idx="290">
                  <c:v>2.1250000000000002E-2</c:v>
                </c:pt>
                <c:pt idx="291">
                  <c:v>2.0830000000000001E-2</c:v>
                </c:pt>
                <c:pt idx="292">
                  <c:v>2.0809999999999999E-2</c:v>
                </c:pt>
                <c:pt idx="293">
                  <c:v>2.0560000000000002E-2</c:v>
                </c:pt>
                <c:pt idx="294">
                  <c:v>2.0059999999999998E-2</c:v>
                </c:pt>
                <c:pt idx="295">
                  <c:v>2.035E-2</c:v>
                </c:pt>
                <c:pt idx="296">
                  <c:v>2.1230000000000002E-2</c:v>
                </c:pt>
                <c:pt idx="297">
                  <c:v>2.0560000000000002E-2</c:v>
                </c:pt>
                <c:pt idx="298">
                  <c:v>2.0710000000000003E-2</c:v>
                </c:pt>
                <c:pt idx="299">
                  <c:v>1.847E-2</c:v>
                </c:pt>
                <c:pt idx="300">
                  <c:v>1.746E-2</c:v>
                </c:pt>
                <c:pt idx="301">
                  <c:v>1.555E-2</c:v>
                </c:pt>
                <c:pt idx="302">
                  <c:v>1.536E-2</c:v>
                </c:pt>
                <c:pt idx="303">
                  <c:v>1.498E-2</c:v>
                </c:pt>
                <c:pt idx="304">
                  <c:v>1.5609999999999999E-2</c:v>
                </c:pt>
                <c:pt idx="305">
                  <c:v>1.898E-2</c:v>
                </c:pt>
                <c:pt idx="306">
                  <c:v>1.7230000000000002E-2</c:v>
                </c:pt>
                <c:pt idx="307">
                  <c:v>1.6830000000000001E-2</c:v>
                </c:pt>
                <c:pt idx="308">
                  <c:v>1.5300000000000001E-2</c:v>
                </c:pt>
                <c:pt idx="309">
                  <c:v>1.7310000000000002E-2</c:v>
                </c:pt>
                <c:pt idx="310">
                  <c:v>1.755E-2</c:v>
                </c:pt>
                <c:pt idx="311">
                  <c:v>1.796E-2</c:v>
                </c:pt>
                <c:pt idx="312">
                  <c:v>1.711E-2</c:v>
                </c:pt>
                <c:pt idx="313">
                  <c:v>1.9429999999999999E-2</c:v>
                </c:pt>
                <c:pt idx="314">
                  <c:v>1.8319999999999999E-2</c:v>
                </c:pt>
                <c:pt idx="315">
                  <c:v>1.771E-2</c:v>
                </c:pt>
                <c:pt idx="316">
                  <c:v>1.7769999999999998E-2</c:v>
                </c:pt>
                <c:pt idx="317">
                  <c:v>1.8380000000000001E-2</c:v>
                </c:pt>
                <c:pt idx="318">
                  <c:v>1.823E-2</c:v>
                </c:pt>
                <c:pt idx="319">
                  <c:v>1.9179999999999999E-2</c:v>
                </c:pt>
                <c:pt idx="320">
                  <c:v>1.8769999999999998E-2</c:v>
                </c:pt>
                <c:pt idx="321">
                  <c:v>1.789E-2</c:v>
                </c:pt>
                <c:pt idx="322">
                  <c:v>1.821E-2</c:v>
                </c:pt>
                <c:pt idx="323">
                  <c:v>1.822E-2</c:v>
                </c:pt>
                <c:pt idx="324">
                  <c:v>1.685E-2</c:v>
                </c:pt>
                <c:pt idx="325">
                  <c:v>1.508E-2</c:v>
                </c:pt>
                <c:pt idx="326">
                  <c:v>1.584E-2</c:v>
                </c:pt>
                <c:pt idx="327">
                  <c:v>1.5869999999999999E-2</c:v>
                </c:pt>
                <c:pt idx="328">
                  <c:v>1.472E-2</c:v>
                </c:pt>
                <c:pt idx="329">
                  <c:v>1.15E-2</c:v>
                </c:pt>
                <c:pt idx="330">
                  <c:v>7.6400000000000001E-3</c:v>
                </c:pt>
                <c:pt idx="331">
                  <c:v>9.6399999999999993E-3</c:v>
                </c:pt>
                <c:pt idx="332">
                  <c:v>8.4799999999999997E-3</c:v>
                </c:pt>
                <c:pt idx="333">
                  <c:v>6.7900000000000009E-3</c:v>
                </c:pt>
                <c:pt idx="334">
                  <c:v>5.9699999999999996E-3</c:v>
                </c:pt>
                <c:pt idx="335">
                  <c:v>7.2099999999999994E-3</c:v>
                </c:pt>
                <c:pt idx="336">
                  <c:v>6.43E-3</c:v>
                </c:pt>
                <c:pt idx="337">
                  <c:v>6.0200000000000002E-3</c:v>
                </c:pt>
                <c:pt idx="338">
                  <c:v>6.1399999999999996E-3</c:v>
                </c:pt>
                <c:pt idx="339">
                  <c:v>6.8500000000000002E-3</c:v>
                </c:pt>
                <c:pt idx="340">
                  <c:v>6.4400000000000004E-3</c:v>
                </c:pt>
                <c:pt idx="341">
                  <c:v>6.6E-3</c:v>
                </c:pt>
                <c:pt idx="342">
                  <c:v>6.5300000000000002E-3</c:v>
                </c:pt>
                <c:pt idx="343">
                  <c:v>8.9600000000000009E-3</c:v>
                </c:pt>
                <c:pt idx="344">
                  <c:v>7.0499999999999998E-3</c:v>
                </c:pt>
                <c:pt idx="345">
                  <c:v>6.9499999999999996E-3</c:v>
                </c:pt>
                <c:pt idx="346">
                  <c:v>6.4200000000000004E-3</c:v>
                </c:pt>
                <c:pt idx="347">
                  <c:v>6.7000000000000002E-3</c:v>
                </c:pt>
                <c:pt idx="348">
                  <c:v>6.4600000000000005E-3</c:v>
                </c:pt>
                <c:pt idx="349">
                  <c:v>6.2700000000000004E-3</c:v>
                </c:pt>
                <c:pt idx="350">
                  <c:v>5.8999999999999999E-3</c:v>
                </c:pt>
                <c:pt idx="351">
                  <c:v>5.2900000000000004E-3</c:v>
                </c:pt>
                <c:pt idx="352">
                  <c:v>5.6499999999999996E-3</c:v>
                </c:pt>
                <c:pt idx="353">
                  <c:v>7.0999999999999995E-3</c:v>
                </c:pt>
                <c:pt idx="354">
                  <c:v>6.3E-3</c:v>
                </c:pt>
                <c:pt idx="355">
                  <c:v>7.2399999999999999E-3</c:v>
                </c:pt>
                <c:pt idx="356">
                  <c:v>7.1899999999999993E-3</c:v>
                </c:pt>
                <c:pt idx="357">
                  <c:v>6.6700000000000006E-3</c:v>
                </c:pt>
                <c:pt idx="358">
                  <c:v>6.9499999999999996E-3</c:v>
                </c:pt>
                <c:pt idx="359">
                  <c:v>6.5599999999999999E-3</c:v>
                </c:pt>
                <c:pt idx="360">
                  <c:v>7.0199999999999993E-3</c:v>
                </c:pt>
                <c:pt idx="361">
                  <c:v>7.7600000000000004E-3</c:v>
                </c:pt>
                <c:pt idx="362">
                  <c:v>7.4599999999999996E-3</c:v>
                </c:pt>
                <c:pt idx="363">
                  <c:v>8.4399999999999996E-3</c:v>
                </c:pt>
                <c:pt idx="364">
                  <c:v>8.7500000000000008E-3</c:v>
                </c:pt>
                <c:pt idx="365">
                  <c:v>8.199999999999999E-3</c:v>
                </c:pt>
                <c:pt idx="366">
                  <c:v>8.9800000000000001E-3</c:v>
                </c:pt>
                <c:pt idx="367">
                  <c:v>8.2500000000000004E-3</c:v>
                </c:pt>
                <c:pt idx="368">
                  <c:v>8.3899999999999999E-3</c:v>
                </c:pt>
                <c:pt idx="369">
                  <c:v>9.6799999999999994E-3</c:v>
                </c:pt>
                <c:pt idx="370">
                  <c:v>8.9800000000000001E-3</c:v>
                </c:pt>
                <c:pt idx="371">
                  <c:v>9.4900000000000002E-3</c:v>
                </c:pt>
                <c:pt idx="372">
                  <c:v>9.2600000000000009E-3</c:v>
                </c:pt>
                <c:pt idx="373">
                  <c:v>9.1599999999999997E-3</c:v>
                </c:pt>
                <c:pt idx="374">
                  <c:v>1.1169999999999999E-2</c:v>
                </c:pt>
                <c:pt idx="375">
                  <c:v>1.0840000000000001E-2</c:v>
                </c:pt>
                <c:pt idx="376">
                  <c:v>1.0869999999999999E-2</c:v>
                </c:pt>
                <c:pt idx="377">
                  <c:v>1.0669999999999999E-2</c:v>
                </c:pt>
                <c:pt idx="378">
                  <c:v>1.1650000000000001E-2</c:v>
                </c:pt>
                <c:pt idx="379">
                  <c:v>1.2110000000000001E-2</c:v>
                </c:pt>
                <c:pt idx="380">
                  <c:v>1.3389999999999999E-2</c:v>
                </c:pt>
                <c:pt idx="381">
                  <c:v>1.4070000000000001E-2</c:v>
                </c:pt>
                <c:pt idx="382">
                  <c:v>1.5679999999999999E-2</c:v>
                </c:pt>
                <c:pt idx="383">
                  <c:v>1.626E-2</c:v>
                </c:pt>
                <c:pt idx="384">
                  <c:v>1.7230000000000002E-2</c:v>
                </c:pt>
                <c:pt idx="385">
                  <c:v>1.678E-2</c:v>
                </c:pt>
                <c:pt idx="386">
                  <c:v>1.7239999999999998E-2</c:v>
                </c:pt>
                <c:pt idx="387">
                  <c:v>1.66E-2</c:v>
                </c:pt>
                <c:pt idx="388">
                  <c:v>1.5820000000000001E-2</c:v>
                </c:pt>
                <c:pt idx="389">
                  <c:v>1.5600000000000001E-2</c:v>
                </c:pt>
                <c:pt idx="390">
                  <c:v>1.6279999999999999E-2</c:v>
                </c:pt>
                <c:pt idx="391">
                  <c:v>1.5789999999999998E-2</c:v>
                </c:pt>
                <c:pt idx="392">
                  <c:v>1.6299999999999999E-2</c:v>
                </c:pt>
                <c:pt idx="393">
                  <c:v>1.6220000000000002E-2</c:v>
                </c:pt>
                <c:pt idx="394">
                  <c:v>1.5960000000000002E-2</c:v>
                </c:pt>
                <c:pt idx="395">
                  <c:v>1.555E-2</c:v>
                </c:pt>
                <c:pt idx="396">
                  <c:v>1.4530000000000001E-2</c:v>
                </c:pt>
                <c:pt idx="397">
                  <c:v>1.44E-2</c:v>
                </c:pt>
                <c:pt idx="398">
                  <c:v>1.525E-2</c:v>
                </c:pt>
                <c:pt idx="399">
                  <c:v>1.426E-2</c:v>
                </c:pt>
                <c:pt idx="400">
                  <c:v>1.3610000000000001E-2</c:v>
                </c:pt>
                <c:pt idx="401">
                  <c:v>1.2920000000000001E-2</c:v>
                </c:pt>
                <c:pt idx="402">
                  <c:v>1.278E-2</c:v>
                </c:pt>
                <c:pt idx="403">
                  <c:v>1.2239999999999999E-2</c:v>
                </c:pt>
                <c:pt idx="404">
                  <c:v>1.299E-2</c:v>
                </c:pt>
                <c:pt idx="405">
                  <c:v>1.278E-2</c:v>
                </c:pt>
                <c:pt idx="406">
                  <c:v>1.256E-2</c:v>
                </c:pt>
                <c:pt idx="407">
                  <c:v>1.3089999999999999E-2</c:v>
                </c:pt>
                <c:pt idx="408">
                  <c:v>1.324E-2</c:v>
                </c:pt>
                <c:pt idx="409">
                  <c:v>1.3440000000000001E-2</c:v>
                </c:pt>
                <c:pt idx="410">
                  <c:v>1.3640000000000001E-2</c:v>
                </c:pt>
                <c:pt idx="411">
                  <c:v>1.4530000000000001E-2</c:v>
                </c:pt>
                <c:pt idx="412">
                  <c:v>1.4619999999999999E-2</c:v>
                </c:pt>
                <c:pt idx="413">
                  <c:v>1.6140000000000002E-2</c:v>
                </c:pt>
                <c:pt idx="414">
                  <c:v>1.5720000000000001E-2</c:v>
                </c:pt>
                <c:pt idx="415">
                  <c:v>1.634E-2</c:v>
                </c:pt>
                <c:pt idx="416">
                  <c:v>1.555E-2</c:v>
                </c:pt>
                <c:pt idx="417">
                  <c:v>1.4539999999999999E-2</c:v>
                </c:pt>
                <c:pt idx="418">
                  <c:v>1.5640000000000001E-2</c:v>
                </c:pt>
                <c:pt idx="419">
                  <c:v>1.5489999999999999E-2</c:v>
                </c:pt>
                <c:pt idx="420">
                  <c:v>1.4760000000000001E-2</c:v>
                </c:pt>
                <c:pt idx="421">
                  <c:v>1.345E-2</c:v>
                </c:pt>
                <c:pt idx="422">
                  <c:v>1.485E-2</c:v>
                </c:pt>
                <c:pt idx="423">
                  <c:v>1.4039999999999999E-2</c:v>
                </c:pt>
                <c:pt idx="424">
                  <c:v>1.494E-2</c:v>
                </c:pt>
                <c:pt idx="425">
                  <c:v>1.512E-2</c:v>
                </c:pt>
                <c:pt idx="426">
                  <c:v>1.7639999999999999E-2</c:v>
                </c:pt>
                <c:pt idx="427">
                  <c:v>1.787E-2</c:v>
                </c:pt>
                <c:pt idx="428">
                  <c:v>1.7600000000000001E-2</c:v>
                </c:pt>
                <c:pt idx="429">
                  <c:v>1.772E-2</c:v>
                </c:pt>
                <c:pt idx="430">
                  <c:v>1.9110000000000002E-2</c:v>
                </c:pt>
                <c:pt idx="431">
                  <c:v>1.941E-2</c:v>
                </c:pt>
                <c:pt idx="432">
                  <c:v>1.9310000000000001E-2</c:v>
                </c:pt>
                <c:pt idx="433">
                  <c:v>1.9640000000000001E-2</c:v>
                </c:pt>
                <c:pt idx="434">
                  <c:v>1.7330000000000002E-2</c:v>
                </c:pt>
                <c:pt idx="435">
                  <c:v>1.9950000000000002E-2</c:v>
                </c:pt>
                <c:pt idx="436">
                  <c:v>2.1520000000000001E-2</c:v>
                </c:pt>
                <c:pt idx="437">
                  <c:v>2.477E-2</c:v>
                </c:pt>
                <c:pt idx="438">
                  <c:v>2.3849999999999996E-2</c:v>
                </c:pt>
                <c:pt idx="439">
                  <c:v>2.7050000000000001E-2</c:v>
                </c:pt>
                <c:pt idx="440">
                  <c:v>2.8290000000000003E-2</c:v>
                </c:pt>
                <c:pt idx="441">
                  <c:v>2.9020000000000001E-2</c:v>
                </c:pt>
                <c:pt idx="442">
                  <c:v>2.9369999999999997E-2</c:v>
                </c:pt>
                <c:pt idx="443">
                  <c:v>3.1309999999999998E-2</c:v>
                </c:pt>
                <c:pt idx="444">
                  <c:v>2.921E-2</c:v>
                </c:pt>
                <c:pt idx="445">
                  <c:v>2.7830000000000001E-2</c:v>
                </c:pt>
                <c:pt idx="446">
                  <c:v>2.7400000000000001E-2</c:v>
                </c:pt>
                <c:pt idx="447">
                  <c:v>2.9369999999999997E-2</c:v>
                </c:pt>
                <c:pt idx="448">
                  <c:v>3.1579999999999997E-2</c:v>
                </c:pt>
                <c:pt idx="449">
                  <c:v>3.2280000000000003E-2</c:v>
                </c:pt>
                <c:pt idx="450">
                  <c:v>3.1349999999999996E-2</c:v>
                </c:pt>
                <c:pt idx="451">
                  <c:v>2.8820000000000002E-2</c:v>
                </c:pt>
                <c:pt idx="452">
                  <c:v>3.082E-2</c:v>
                </c:pt>
                <c:pt idx="453">
                  <c:v>2.9190000000000001E-2</c:v>
                </c:pt>
                <c:pt idx="454">
                  <c:v>2.7519999999999999E-2</c:v>
                </c:pt>
                <c:pt idx="455">
                  <c:v>2.6509999999999999E-2</c:v>
                </c:pt>
                <c:pt idx="456">
                  <c:v>2.8300000000000002E-2</c:v>
                </c:pt>
                <c:pt idx="457">
                  <c:v>2.8340000000000001E-2</c:v>
                </c:pt>
                <c:pt idx="458">
                  <c:v>2.9750000000000002E-2</c:v>
                </c:pt>
                <c:pt idx="459">
                  <c:v>3.0430000000000002E-2</c:v>
                </c:pt>
                <c:pt idx="460">
                  <c:v>3.1920000000000004E-2</c:v>
                </c:pt>
                <c:pt idx="461">
                  <c:v>3.313E-2</c:v>
                </c:pt>
                <c:pt idx="462">
                  <c:v>3.4520000000000002E-2</c:v>
                </c:pt>
                <c:pt idx="463">
                  <c:v>3.6889999999999999E-2</c:v>
                </c:pt>
                <c:pt idx="464">
                  <c:v>3.832E-2</c:v>
                </c:pt>
                <c:pt idx="465">
                  <c:v>3.8830000000000003E-2</c:v>
                </c:pt>
                <c:pt idx="466">
                  <c:v>4.0209999999999996E-2</c:v>
                </c:pt>
                <c:pt idx="467">
                  <c:v>4.2199999999999994E-2</c:v>
                </c:pt>
                <c:pt idx="468">
                  <c:v>4.0160000000000001E-2</c:v>
                </c:pt>
                <c:pt idx="469">
                  <c:v>4.1599999999999998E-2</c:v>
                </c:pt>
                <c:pt idx="470">
                  <c:v>3.814E-2</c:v>
                </c:pt>
                <c:pt idx="471">
                  <c:v>3.8300000000000001E-2</c:v>
                </c:pt>
                <c:pt idx="472">
                  <c:v>3.6819999999999999E-2</c:v>
                </c:pt>
                <c:pt idx="473">
                  <c:v>3.4889999999999997E-2</c:v>
                </c:pt>
                <c:pt idx="474">
                  <c:v>3.5819999999999998E-2</c:v>
                </c:pt>
                <c:pt idx="475">
                  <c:v>3.4880000000000001E-2</c:v>
                </c:pt>
                <c:pt idx="476">
                  <c:v>3.7490000000000002E-2</c:v>
                </c:pt>
                <c:pt idx="477">
                  <c:v>3.8769999999999999E-2</c:v>
                </c:pt>
                <c:pt idx="478">
                  <c:v>3.56E-2</c:v>
                </c:pt>
                <c:pt idx="479">
                  <c:v>3.5049999999999998E-2</c:v>
                </c:pt>
                <c:pt idx="480">
                  <c:v>3.4810000000000001E-2</c:v>
                </c:pt>
                <c:pt idx="481">
                  <c:v>3.5049999999999998E-2</c:v>
                </c:pt>
                <c:pt idx="482">
                  <c:v>3.526E-2</c:v>
                </c:pt>
                <c:pt idx="483">
                  <c:v>3.739E-2</c:v>
                </c:pt>
                <c:pt idx="484">
                  <c:v>3.8199999999999998E-2</c:v>
                </c:pt>
                <c:pt idx="485">
                  <c:v>3.9469999999999998E-2</c:v>
                </c:pt>
                <c:pt idx="486">
                  <c:v>3.9550000000000002E-2</c:v>
                </c:pt>
                <c:pt idx="487">
                  <c:v>3.7010000000000001E-2</c:v>
                </c:pt>
                <c:pt idx="488">
                  <c:v>3.4319999999999996E-2</c:v>
                </c:pt>
                <c:pt idx="489">
                  <c:v>3.3780000000000004E-2</c:v>
                </c:pt>
                <c:pt idx="490">
                  <c:v>3.4700000000000002E-2</c:v>
                </c:pt>
                <c:pt idx="491">
                  <c:v>3.3950000000000001E-2</c:v>
                </c:pt>
                <c:pt idx="492">
                  <c:v>3.5159999999999997E-2</c:v>
                </c:pt>
                <c:pt idx="493">
                  <c:v>3.5740000000000001E-2</c:v>
                </c:pt>
                <c:pt idx="494">
                  <c:v>3.4249999999999996E-2</c:v>
                </c:pt>
                <c:pt idx="495">
                  <c:v>3.44E-2</c:v>
                </c:pt>
                <c:pt idx="496">
                  <c:v>3.4660000000000003E-2</c:v>
                </c:pt>
                <c:pt idx="497">
                  <c:v>3.6749999999999998E-2</c:v>
                </c:pt>
                <c:pt idx="498">
                  <c:v>3.7999999999999999E-2</c:v>
                </c:pt>
                <c:pt idx="499">
                  <c:v>3.6949999999999997E-2</c:v>
                </c:pt>
                <c:pt idx="500">
                  <c:v>3.7429999999999998E-2</c:v>
                </c:pt>
                <c:pt idx="501">
                  <c:v>3.7659999999999999E-2</c:v>
                </c:pt>
                <c:pt idx="502">
                  <c:v>3.7360000000000004E-2</c:v>
                </c:pt>
                <c:pt idx="503">
                  <c:v>3.8399999999999997E-2</c:v>
                </c:pt>
                <c:pt idx="504">
                  <c:v>4.0679999999999994E-2</c:v>
                </c:pt>
                <c:pt idx="505">
                  <c:v>3.8339999999999999E-2</c:v>
                </c:pt>
                <c:pt idx="506">
                  <c:v>3.8390000000000001E-2</c:v>
                </c:pt>
                <c:pt idx="507">
                  <c:v>3.9529999999999996E-2</c:v>
                </c:pt>
                <c:pt idx="508">
                  <c:v>4.0369999999999996E-2</c:v>
                </c:pt>
                <c:pt idx="509">
                  <c:v>4.1550000000000004E-2</c:v>
                </c:pt>
                <c:pt idx="510">
                  <c:v>4.2560000000000001E-2</c:v>
                </c:pt>
                <c:pt idx="511">
                  <c:v>4.2369999999999998E-2</c:v>
                </c:pt>
                <c:pt idx="512">
                  <c:v>4.1799999999999997E-2</c:v>
                </c:pt>
                <c:pt idx="513">
                  <c:v>4.2670000000000007E-2</c:v>
                </c:pt>
                <c:pt idx="514">
                  <c:v>4.3339999999999997E-2</c:v>
                </c:pt>
                <c:pt idx="515">
                  <c:v>4.4349999999999994E-2</c:v>
                </c:pt>
                <c:pt idx="516">
                  <c:v>4.5720000000000004E-2</c:v>
                </c:pt>
                <c:pt idx="517">
                  <c:v>4.8029999999999996E-2</c:v>
                </c:pt>
                <c:pt idx="518">
                  <c:v>4.6130000000000004E-2</c:v>
                </c:pt>
                <c:pt idx="519">
                  <c:v>4.9160000000000002E-2</c:v>
                </c:pt>
                <c:pt idx="520">
                  <c:v>4.8369999999999996E-2</c:v>
                </c:pt>
                <c:pt idx="521">
                  <c:v>4.5730000000000007E-2</c:v>
                </c:pt>
                <c:pt idx="522">
                  <c:v>4.6509999999999996E-2</c:v>
                </c:pt>
              </c:numCache>
            </c:numRef>
          </c:val>
          <c:smooth val="0"/>
          <c:extLst>
            <c:ext xmlns:c16="http://schemas.microsoft.com/office/drawing/2014/chart" uri="{C3380CC4-5D6E-409C-BE32-E72D297353CC}">
              <c16:uniqueId val="{00000000-EF21-684C-8F47-470F32FBF1FC}"/>
            </c:ext>
          </c:extLst>
        </c:ser>
        <c:dLbls>
          <c:showLegendKey val="0"/>
          <c:showVal val="0"/>
          <c:showCatName val="0"/>
          <c:showSerName val="0"/>
          <c:showPercent val="0"/>
          <c:showBubbleSize val="0"/>
        </c:dLbls>
        <c:smooth val="0"/>
        <c:axId val="671106736"/>
        <c:axId val="671108416"/>
      </c:lineChart>
      <c:dateAx>
        <c:axId val="671106736"/>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8416"/>
        <c:crosses val="autoZero"/>
        <c:auto val="1"/>
        <c:lblOffset val="100"/>
        <c:baseTimeUnit val="days"/>
        <c:majorUnit val="12"/>
        <c:majorTimeUnit val="months"/>
      </c:dateAx>
      <c:valAx>
        <c:axId val="6711084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6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97096166651083E-2"/>
          <c:y val="0.1353942262098605"/>
          <c:w val="0.92022366927505073"/>
          <c:h val="0.76181562166495331"/>
        </c:manualLayout>
      </c:layout>
      <c:lineChart>
        <c:grouping val="standard"/>
        <c:varyColors val="0"/>
        <c:ser>
          <c:idx val="0"/>
          <c:order val="0"/>
          <c:tx>
            <c:strRef>
              <c:f>Hoja1!$B$1</c:f>
              <c:strCache>
                <c:ptCount val="1"/>
                <c:pt idx="0">
                  <c:v>S&amp;P Sector Energia</c:v>
                </c:pt>
              </c:strCache>
            </c:strRef>
          </c:tx>
          <c:spPr>
            <a:ln w="28575" cap="rnd">
              <a:solidFill>
                <a:schemeClr val="tx2"/>
              </a:solidFill>
              <a:round/>
            </a:ln>
            <a:effectLst/>
          </c:spPr>
          <c:marker>
            <c:symbol val="none"/>
          </c:marker>
          <c:dLbls>
            <c:dLbl>
              <c:idx val="521"/>
              <c:layout>
                <c:manualLayout>
                  <c:x val="-4.0220565640851635E-2"/>
                  <c:y val="-8.51399794601734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86-9244-AC77-174EA46E05F1}"/>
                </c:ext>
              </c:extLst>
            </c:dLbl>
            <c:spPr>
              <a:solidFill>
                <a:schemeClr val="tx2">
                  <a:alpha val="22696"/>
                </a:schemeClr>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523</c:f>
              <c:numCache>
                <c:formatCode>[$-409]mmm\-yy;@</c:formatCode>
                <c:ptCount val="522"/>
                <c:pt idx="0">
                  <c:v>41586</c:v>
                </c:pt>
                <c:pt idx="1">
                  <c:v>41593</c:v>
                </c:pt>
                <c:pt idx="2">
                  <c:v>41600</c:v>
                </c:pt>
                <c:pt idx="3">
                  <c:v>41607</c:v>
                </c:pt>
                <c:pt idx="4">
                  <c:v>41614</c:v>
                </c:pt>
                <c:pt idx="5">
                  <c:v>41621</c:v>
                </c:pt>
                <c:pt idx="6">
                  <c:v>41628</c:v>
                </c:pt>
                <c:pt idx="7">
                  <c:v>41635</c:v>
                </c:pt>
                <c:pt idx="8">
                  <c:v>41642</c:v>
                </c:pt>
                <c:pt idx="9">
                  <c:v>41649</c:v>
                </c:pt>
                <c:pt idx="10">
                  <c:v>41656</c:v>
                </c:pt>
                <c:pt idx="11">
                  <c:v>41663</c:v>
                </c:pt>
                <c:pt idx="12">
                  <c:v>41670</c:v>
                </c:pt>
                <c:pt idx="13">
                  <c:v>41677</c:v>
                </c:pt>
                <c:pt idx="14">
                  <c:v>41684</c:v>
                </c:pt>
                <c:pt idx="15">
                  <c:v>41691</c:v>
                </c:pt>
                <c:pt idx="16">
                  <c:v>41698</c:v>
                </c:pt>
                <c:pt idx="17">
                  <c:v>41705</c:v>
                </c:pt>
                <c:pt idx="18">
                  <c:v>41712</c:v>
                </c:pt>
                <c:pt idx="19">
                  <c:v>41719</c:v>
                </c:pt>
                <c:pt idx="20">
                  <c:v>41726</c:v>
                </c:pt>
                <c:pt idx="21">
                  <c:v>41733</c:v>
                </c:pt>
                <c:pt idx="22">
                  <c:v>41740</c:v>
                </c:pt>
                <c:pt idx="23">
                  <c:v>41747</c:v>
                </c:pt>
                <c:pt idx="24">
                  <c:v>41754</c:v>
                </c:pt>
                <c:pt idx="25">
                  <c:v>41761</c:v>
                </c:pt>
                <c:pt idx="26">
                  <c:v>41768</c:v>
                </c:pt>
                <c:pt idx="27">
                  <c:v>41775</c:v>
                </c:pt>
                <c:pt idx="28">
                  <c:v>41782</c:v>
                </c:pt>
                <c:pt idx="29">
                  <c:v>41789</c:v>
                </c:pt>
                <c:pt idx="30">
                  <c:v>41796</c:v>
                </c:pt>
                <c:pt idx="31">
                  <c:v>41803</c:v>
                </c:pt>
                <c:pt idx="32">
                  <c:v>41810</c:v>
                </c:pt>
                <c:pt idx="33">
                  <c:v>41817</c:v>
                </c:pt>
                <c:pt idx="34">
                  <c:v>41824</c:v>
                </c:pt>
                <c:pt idx="35">
                  <c:v>41831</c:v>
                </c:pt>
                <c:pt idx="36">
                  <c:v>41838</c:v>
                </c:pt>
                <c:pt idx="37">
                  <c:v>41845</c:v>
                </c:pt>
                <c:pt idx="38">
                  <c:v>41852</c:v>
                </c:pt>
                <c:pt idx="39">
                  <c:v>41859</c:v>
                </c:pt>
                <c:pt idx="40">
                  <c:v>41866</c:v>
                </c:pt>
                <c:pt idx="41">
                  <c:v>41873</c:v>
                </c:pt>
                <c:pt idx="42">
                  <c:v>41880</c:v>
                </c:pt>
                <c:pt idx="43">
                  <c:v>41887</c:v>
                </c:pt>
                <c:pt idx="44">
                  <c:v>41894</c:v>
                </c:pt>
                <c:pt idx="45">
                  <c:v>41901</c:v>
                </c:pt>
                <c:pt idx="46">
                  <c:v>41908</c:v>
                </c:pt>
                <c:pt idx="47">
                  <c:v>41915</c:v>
                </c:pt>
                <c:pt idx="48">
                  <c:v>41922</c:v>
                </c:pt>
                <c:pt idx="49">
                  <c:v>41929</c:v>
                </c:pt>
                <c:pt idx="50">
                  <c:v>41936</c:v>
                </c:pt>
                <c:pt idx="51">
                  <c:v>41943</c:v>
                </c:pt>
                <c:pt idx="52">
                  <c:v>41950</c:v>
                </c:pt>
                <c:pt idx="53">
                  <c:v>41957</c:v>
                </c:pt>
                <c:pt idx="54">
                  <c:v>41964</c:v>
                </c:pt>
                <c:pt idx="55">
                  <c:v>41971</c:v>
                </c:pt>
                <c:pt idx="56">
                  <c:v>41978</c:v>
                </c:pt>
                <c:pt idx="57">
                  <c:v>41985</c:v>
                </c:pt>
                <c:pt idx="58">
                  <c:v>41992</c:v>
                </c:pt>
                <c:pt idx="59">
                  <c:v>41999</c:v>
                </c:pt>
                <c:pt idx="60">
                  <c:v>42006</c:v>
                </c:pt>
                <c:pt idx="61">
                  <c:v>42013</c:v>
                </c:pt>
                <c:pt idx="62">
                  <c:v>42020</c:v>
                </c:pt>
                <c:pt idx="63">
                  <c:v>42027</c:v>
                </c:pt>
                <c:pt idx="64">
                  <c:v>42034</c:v>
                </c:pt>
                <c:pt idx="65">
                  <c:v>42041</c:v>
                </c:pt>
                <c:pt idx="66">
                  <c:v>42048</c:v>
                </c:pt>
                <c:pt idx="67">
                  <c:v>42055</c:v>
                </c:pt>
                <c:pt idx="68">
                  <c:v>42062</c:v>
                </c:pt>
                <c:pt idx="69">
                  <c:v>42069</c:v>
                </c:pt>
                <c:pt idx="70">
                  <c:v>42076</c:v>
                </c:pt>
                <c:pt idx="71">
                  <c:v>42083</c:v>
                </c:pt>
                <c:pt idx="72">
                  <c:v>42090</c:v>
                </c:pt>
                <c:pt idx="73">
                  <c:v>42097</c:v>
                </c:pt>
                <c:pt idx="74">
                  <c:v>42104</c:v>
                </c:pt>
                <c:pt idx="75">
                  <c:v>42111</c:v>
                </c:pt>
                <c:pt idx="76">
                  <c:v>42118</c:v>
                </c:pt>
                <c:pt idx="77">
                  <c:v>42125</c:v>
                </c:pt>
                <c:pt idx="78">
                  <c:v>42132</c:v>
                </c:pt>
                <c:pt idx="79">
                  <c:v>42139</c:v>
                </c:pt>
                <c:pt idx="80">
                  <c:v>42146</c:v>
                </c:pt>
                <c:pt idx="81">
                  <c:v>42153</c:v>
                </c:pt>
                <c:pt idx="82">
                  <c:v>42160</c:v>
                </c:pt>
                <c:pt idx="83">
                  <c:v>42167</c:v>
                </c:pt>
                <c:pt idx="84">
                  <c:v>42174</c:v>
                </c:pt>
                <c:pt idx="85">
                  <c:v>42181</c:v>
                </c:pt>
                <c:pt idx="86">
                  <c:v>42188</c:v>
                </c:pt>
                <c:pt idx="87">
                  <c:v>42195</c:v>
                </c:pt>
                <c:pt idx="88">
                  <c:v>42202</c:v>
                </c:pt>
                <c:pt idx="89">
                  <c:v>42209</c:v>
                </c:pt>
                <c:pt idx="90">
                  <c:v>42216</c:v>
                </c:pt>
                <c:pt idx="91">
                  <c:v>42223</c:v>
                </c:pt>
                <c:pt idx="92">
                  <c:v>42230</c:v>
                </c:pt>
                <c:pt idx="93">
                  <c:v>42237</c:v>
                </c:pt>
                <c:pt idx="94">
                  <c:v>42244</c:v>
                </c:pt>
                <c:pt idx="95">
                  <c:v>42251</c:v>
                </c:pt>
                <c:pt idx="96">
                  <c:v>42258</c:v>
                </c:pt>
                <c:pt idx="97">
                  <c:v>42265</c:v>
                </c:pt>
                <c:pt idx="98">
                  <c:v>42272</c:v>
                </c:pt>
                <c:pt idx="99">
                  <c:v>42279</c:v>
                </c:pt>
                <c:pt idx="100">
                  <c:v>42286</c:v>
                </c:pt>
                <c:pt idx="101">
                  <c:v>42293</c:v>
                </c:pt>
                <c:pt idx="102">
                  <c:v>42300</c:v>
                </c:pt>
                <c:pt idx="103">
                  <c:v>42307</c:v>
                </c:pt>
                <c:pt idx="104">
                  <c:v>42314</c:v>
                </c:pt>
                <c:pt idx="105">
                  <c:v>42321</c:v>
                </c:pt>
                <c:pt idx="106">
                  <c:v>42328</c:v>
                </c:pt>
                <c:pt idx="107">
                  <c:v>42335</c:v>
                </c:pt>
                <c:pt idx="108">
                  <c:v>42342</c:v>
                </c:pt>
                <c:pt idx="109">
                  <c:v>42349</c:v>
                </c:pt>
                <c:pt idx="110">
                  <c:v>42356</c:v>
                </c:pt>
                <c:pt idx="111">
                  <c:v>42363</c:v>
                </c:pt>
                <c:pt idx="112">
                  <c:v>42370</c:v>
                </c:pt>
                <c:pt idx="113">
                  <c:v>42377</c:v>
                </c:pt>
                <c:pt idx="114">
                  <c:v>42384</c:v>
                </c:pt>
                <c:pt idx="115">
                  <c:v>42391</c:v>
                </c:pt>
                <c:pt idx="116">
                  <c:v>42398</c:v>
                </c:pt>
                <c:pt idx="117">
                  <c:v>42405</c:v>
                </c:pt>
                <c:pt idx="118">
                  <c:v>42412</c:v>
                </c:pt>
                <c:pt idx="119">
                  <c:v>42419</c:v>
                </c:pt>
                <c:pt idx="120">
                  <c:v>42426</c:v>
                </c:pt>
                <c:pt idx="121">
                  <c:v>42433</c:v>
                </c:pt>
                <c:pt idx="122">
                  <c:v>42440</c:v>
                </c:pt>
                <c:pt idx="123">
                  <c:v>42447</c:v>
                </c:pt>
                <c:pt idx="124">
                  <c:v>42454</c:v>
                </c:pt>
                <c:pt idx="125">
                  <c:v>42461</c:v>
                </c:pt>
                <c:pt idx="126">
                  <c:v>42468</c:v>
                </c:pt>
                <c:pt idx="127">
                  <c:v>42475</c:v>
                </c:pt>
                <c:pt idx="128">
                  <c:v>42482</c:v>
                </c:pt>
                <c:pt idx="129">
                  <c:v>42489</c:v>
                </c:pt>
                <c:pt idx="130">
                  <c:v>42496</c:v>
                </c:pt>
                <c:pt idx="131">
                  <c:v>42503</c:v>
                </c:pt>
                <c:pt idx="132">
                  <c:v>42510</c:v>
                </c:pt>
                <c:pt idx="133">
                  <c:v>42517</c:v>
                </c:pt>
                <c:pt idx="134">
                  <c:v>42524</c:v>
                </c:pt>
                <c:pt idx="135">
                  <c:v>42531</c:v>
                </c:pt>
                <c:pt idx="136">
                  <c:v>42538</c:v>
                </c:pt>
                <c:pt idx="137">
                  <c:v>42545</c:v>
                </c:pt>
                <c:pt idx="138">
                  <c:v>42552</c:v>
                </c:pt>
                <c:pt idx="139">
                  <c:v>42559</c:v>
                </c:pt>
                <c:pt idx="140">
                  <c:v>42566</c:v>
                </c:pt>
                <c:pt idx="141">
                  <c:v>42573</c:v>
                </c:pt>
                <c:pt idx="142">
                  <c:v>42580</c:v>
                </c:pt>
                <c:pt idx="143">
                  <c:v>42587</c:v>
                </c:pt>
                <c:pt idx="144">
                  <c:v>42594</c:v>
                </c:pt>
                <c:pt idx="145">
                  <c:v>42601</c:v>
                </c:pt>
                <c:pt idx="146">
                  <c:v>42608</c:v>
                </c:pt>
                <c:pt idx="147">
                  <c:v>42615</c:v>
                </c:pt>
                <c:pt idx="148">
                  <c:v>42622</c:v>
                </c:pt>
                <c:pt idx="149">
                  <c:v>42629</c:v>
                </c:pt>
                <c:pt idx="150">
                  <c:v>42636</c:v>
                </c:pt>
                <c:pt idx="151">
                  <c:v>42643</c:v>
                </c:pt>
                <c:pt idx="152">
                  <c:v>42650</c:v>
                </c:pt>
                <c:pt idx="153">
                  <c:v>42657</c:v>
                </c:pt>
                <c:pt idx="154">
                  <c:v>42664</c:v>
                </c:pt>
                <c:pt idx="155">
                  <c:v>42671</c:v>
                </c:pt>
                <c:pt idx="156">
                  <c:v>42678</c:v>
                </c:pt>
                <c:pt idx="157">
                  <c:v>42685</c:v>
                </c:pt>
                <c:pt idx="158">
                  <c:v>42692</c:v>
                </c:pt>
                <c:pt idx="159">
                  <c:v>42699</c:v>
                </c:pt>
                <c:pt idx="160">
                  <c:v>42706</c:v>
                </c:pt>
                <c:pt idx="161">
                  <c:v>42713</c:v>
                </c:pt>
                <c:pt idx="162">
                  <c:v>42720</c:v>
                </c:pt>
                <c:pt idx="163">
                  <c:v>42727</c:v>
                </c:pt>
                <c:pt idx="164">
                  <c:v>42734</c:v>
                </c:pt>
                <c:pt idx="165">
                  <c:v>42741</c:v>
                </c:pt>
                <c:pt idx="166">
                  <c:v>42748</c:v>
                </c:pt>
                <c:pt idx="167">
                  <c:v>42755</c:v>
                </c:pt>
                <c:pt idx="168">
                  <c:v>42762</c:v>
                </c:pt>
                <c:pt idx="169">
                  <c:v>42769</c:v>
                </c:pt>
                <c:pt idx="170">
                  <c:v>42776</c:v>
                </c:pt>
                <c:pt idx="171">
                  <c:v>42783</c:v>
                </c:pt>
                <c:pt idx="172">
                  <c:v>42790</c:v>
                </c:pt>
                <c:pt idx="173">
                  <c:v>42797</c:v>
                </c:pt>
                <c:pt idx="174">
                  <c:v>42804</c:v>
                </c:pt>
                <c:pt idx="175">
                  <c:v>42811</c:v>
                </c:pt>
                <c:pt idx="176">
                  <c:v>42818</c:v>
                </c:pt>
                <c:pt idx="177">
                  <c:v>42825</c:v>
                </c:pt>
                <c:pt idx="178">
                  <c:v>42832</c:v>
                </c:pt>
                <c:pt idx="179">
                  <c:v>42839</c:v>
                </c:pt>
                <c:pt idx="180">
                  <c:v>42846</c:v>
                </c:pt>
                <c:pt idx="181">
                  <c:v>42853</c:v>
                </c:pt>
                <c:pt idx="182">
                  <c:v>42860</c:v>
                </c:pt>
                <c:pt idx="183">
                  <c:v>42867</c:v>
                </c:pt>
                <c:pt idx="184">
                  <c:v>42874</c:v>
                </c:pt>
                <c:pt idx="185">
                  <c:v>42881</c:v>
                </c:pt>
                <c:pt idx="186">
                  <c:v>42888</c:v>
                </c:pt>
                <c:pt idx="187">
                  <c:v>42895</c:v>
                </c:pt>
                <c:pt idx="188">
                  <c:v>42902</c:v>
                </c:pt>
                <c:pt idx="189">
                  <c:v>42909</c:v>
                </c:pt>
                <c:pt idx="190">
                  <c:v>42916</c:v>
                </c:pt>
                <c:pt idx="191">
                  <c:v>42923</c:v>
                </c:pt>
                <c:pt idx="192">
                  <c:v>42930</c:v>
                </c:pt>
                <c:pt idx="193">
                  <c:v>42937</c:v>
                </c:pt>
                <c:pt idx="194">
                  <c:v>42944</c:v>
                </c:pt>
                <c:pt idx="195">
                  <c:v>42951</c:v>
                </c:pt>
                <c:pt idx="196">
                  <c:v>42958</c:v>
                </c:pt>
                <c:pt idx="197">
                  <c:v>42965</c:v>
                </c:pt>
                <c:pt idx="198">
                  <c:v>42972</c:v>
                </c:pt>
                <c:pt idx="199">
                  <c:v>42979</c:v>
                </c:pt>
                <c:pt idx="200">
                  <c:v>42986</c:v>
                </c:pt>
                <c:pt idx="201">
                  <c:v>42993</c:v>
                </c:pt>
                <c:pt idx="202">
                  <c:v>43000</c:v>
                </c:pt>
                <c:pt idx="203">
                  <c:v>43007</c:v>
                </c:pt>
                <c:pt idx="204">
                  <c:v>43014</c:v>
                </c:pt>
                <c:pt idx="205">
                  <c:v>43021</c:v>
                </c:pt>
                <c:pt idx="206">
                  <c:v>43028</c:v>
                </c:pt>
                <c:pt idx="207">
                  <c:v>43035</c:v>
                </c:pt>
                <c:pt idx="208">
                  <c:v>43042</c:v>
                </c:pt>
                <c:pt idx="209">
                  <c:v>43049</c:v>
                </c:pt>
                <c:pt idx="210">
                  <c:v>43056</c:v>
                </c:pt>
                <c:pt idx="211">
                  <c:v>43063</c:v>
                </c:pt>
                <c:pt idx="212">
                  <c:v>43070</c:v>
                </c:pt>
                <c:pt idx="213">
                  <c:v>43077</c:v>
                </c:pt>
                <c:pt idx="214">
                  <c:v>43084</c:v>
                </c:pt>
                <c:pt idx="215">
                  <c:v>43091</c:v>
                </c:pt>
                <c:pt idx="216">
                  <c:v>43098</c:v>
                </c:pt>
                <c:pt idx="217">
                  <c:v>43105</c:v>
                </c:pt>
                <c:pt idx="218">
                  <c:v>43112</c:v>
                </c:pt>
                <c:pt idx="219">
                  <c:v>43119</c:v>
                </c:pt>
                <c:pt idx="220">
                  <c:v>43126</c:v>
                </c:pt>
                <c:pt idx="221">
                  <c:v>43133</c:v>
                </c:pt>
                <c:pt idx="222">
                  <c:v>43140</c:v>
                </c:pt>
                <c:pt idx="223">
                  <c:v>43147</c:v>
                </c:pt>
                <c:pt idx="224">
                  <c:v>43154</c:v>
                </c:pt>
                <c:pt idx="225">
                  <c:v>43161</c:v>
                </c:pt>
                <c:pt idx="226">
                  <c:v>43168</c:v>
                </c:pt>
                <c:pt idx="227">
                  <c:v>43175</c:v>
                </c:pt>
                <c:pt idx="228">
                  <c:v>43182</c:v>
                </c:pt>
                <c:pt idx="229">
                  <c:v>43189</c:v>
                </c:pt>
                <c:pt idx="230">
                  <c:v>43196</c:v>
                </c:pt>
                <c:pt idx="231">
                  <c:v>43203</c:v>
                </c:pt>
                <c:pt idx="232">
                  <c:v>43210</c:v>
                </c:pt>
                <c:pt idx="233">
                  <c:v>43217</c:v>
                </c:pt>
                <c:pt idx="234">
                  <c:v>43224</c:v>
                </c:pt>
                <c:pt idx="235">
                  <c:v>43231</c:v>
                </c:pt>
                <c:pt idx="236">
                  <c:v>43238</c:v>
                </c:pt>
                <c:pt idx="237">
                  <c:v>43245</c:v>
                </c:pt>
                <c:pt idx="238">
                  <c:v>43252</c:v>
                </c:pt>
                <c:pt idx="239">
                  <c:v>43259</c:v>
                </c:pt>
                <c:pt idx="240">
                  <c:v>43266</c:v>
                </c:pt>
                <c:pt idx="241">
                  <c:v>43273</c:v>
                </c:pt>
                <c:pt idx="242">
                  <c:v>43280</c:v>
                </c:pt>
                <c:pt idx="243">
                  <c:v>43287</c:v>
                </c:pt>
                <c:pt idx="244">
                  <c:v>43294</c:v>
                </c:pt>
                <c:pt idx="245">
                  <c:v>43301</c:v>
                </c:pt>
                <c:pt idx="246">
                  <c:v>43308</c:v>
                </c:pt>
                <c:pt idx="247">
                  <c:v>43315</c:v>
                </c:pt>
                <c:pt idx="248">
                  <c:v>43322</c:v>
                </c:pt>
                <c:pt idx="249">
                  <c:v>43329</c:v>
                </c:pt>
                <c:pt idx="250">
                  <c:v>43336</c:v>
                </c:pt>
                <c:pt idx="251">
                  <c:v>43343</c:v>
                </c:pt>
                <c:pt idx="252">
                  <c:v>43350</c:v>
                </c:pt>
                <c:pt idx="253">
                  <c:v>43357</c:v>
                </c:pt>
                <c:pt idx="254">
                  <c:v>43364</c:v>
                </c:pt>
                <c:pt idx="255">
                  <c:v>43371</c:v>
                </c:pt>
                <c:pt idx="256">
                  <c:v>43378</c:v>
                </c:pt>
                <c:pt idx="257">
                  <c:v>43385</c:v>
                </c:pt>
                <c:pt idx="258">
                  <c:v>43392</c:v>
                </c:pt>
                <c:pt idx="259">
                  <c:v>43399</c:v>
                </c:pt>
                <c:pt idx="260">
                  <c:v>43406</c:v>
                </c:pt>
                <c:pt idx="261">
                  <c:v>43413</c:v>
                </c:pt>
                <c:pt idx="262">
                  <c:v>43420</c:v>
                </c:pt>
                <c:pt idx="263">
                  <c:v>43427</c:v>
                </c:pt>
                <c:pt idx="264">
                  <c:v>43434</c:v>
                </c:pt>
                <c:pt idx="265">
                  <c:v>43441</c:v>
                </c:pt>
                <c:pt idx="266">
                  <c:v>43448</c:v>
                </c:pt>
                <c:pt idx="267">
                  <c:v>43455</c:v>
                </c:pt>
                <c:pt idx="268">
                  <c:v>43462</c:v>
                </c:pt>
                <c:pt idx="269">
                  <c:v>43469</c:v>
                </c:pt>
                <c:pt idx="270">
                  <c:v>43476</c:v>
                </c:pt>
                <c:pt idx="271">
                  <c:v>43483</c:v>
                </c:pt>
                <c:pt idx="272">
                  <c:v>43490</c:v>
                </c:pt>
                <c:pt idx="273">
                  <c:v>43497</c:v>
                </c:pt>
                <c:pt idx="274">
                  <c:v>43504</c:v>
                </c:pt>
                <c:pt idx="275">
                  <c:v>43511</c:v>
                </c:pt>
                <c:pt idx="276">
                  <c:v>43518</c:v>
                </c:pt>
                <c:pt idx="277">
                  <c:v>43525</c:v>
                </c:pt>
                <c:pt idx="278">
                  <c:v>43532</c:v>
                </c:pt>
                <c:pt idx="279">
                  <c:v>43539</c:v>
                </c:pt>
                <c:pt idx="280">
                  <c:v>43546</c:v>
                </c:pt>
                <c:pt idx="281">
                  <c:v>43553</c:v>
                </c:pt>
                <c:pt idx="282">
                  <c:v>43560</c:v>
                </c:pt>
                <c:pt idx="283">
                  <c:v>43567</c:v>
                </c:pt>
                <c:pt idx="284">
                  <c:v>43574</c:v>
                </c:pt>
                <c:pt idx="285">
                  <c:v>43581</c:v>
                </c:pt>
                <c:pt idx="286">
                  <c:v>43588</c:v>
                </c:pt>
                <c:pt idx="287">
                  <c:v>43595</c:v>
                </c:pt>
                <c:pt idx="288">
                  <c:v>43602</c:v>
                </c:pt>
                <c:pt idx="289">
                  <c:v>43609</c:v>
                </c:pt>
                <c:pt idx="290">
                  <c:v>43616</c:v>
                </c:pt>
                <c:pt idx="291">
                  <c:v>43623</c:v>
                </c:pt>
                <c:pt idx="292">
                  <c:v>43630</c:v>
                </c:pt>
                <c:pt idx="293">
                  <c:v>43637</c:v>
                </c:pt>
                <c:pt idx="294">
                  <c:v>43644</c:v>
                </c:pt>
                <c:pt idx="295">
                  <c:v>43651</c:v>
                </c:pt>
                <c:pt idx="296">
                  <c:v>43658</c:v>
                </c:pt>
                <c:pt idx="297">
                  <c:v>43665</c:v>
                </c:pt>
                <c:pt idx="298">
                  <c:v>43672</c:v>
                </c:pt>
                <c:pt idx="299">
                  <c:v>43679</c:v>
                </c:pt>
                <c:pt idx="300">
                  <c:v>43686</c:v>
                </c:pt>
                <c:pt idx="301">
                  <c:v>43693</c:v>
                </c:pt>
                <c:pt idx="302">
                  <c:v>43700</c:v>
                </c:pt>
                <c:pt idx="303">
                  <c:v>43707</c:v>
                </c:pt>
                <c:pt idx="304">
                  <c:v>43714</c:v>
                </c:pt>
                <c:pt idx="305">
                  <c:v>43721</c:v>
                </c:pt>
                <c:pt idx="306">
                  <c:v>43728</c:v>
                </c:pt>
                <c:pt idx="307">
                  <c:v>43735</c:v>
                </c:pt>
                <c:pt idx="308">
                  <c:v>43742</c:v>
                </c:pt>
                <c:pt idx="309">
                  <c:v>43749</c:v>
                </c:pt>
                <c:pt idx="310">
                  <c:v>43756</c:v>
                </c:pt>
                <c:pt idx="311">
                  <c:v>43763</c:v>
                </c:pt>
                <c:pt idx="312">
                  <c:v>43770</c:v>
                </c:pt>
                <c:pt idx="313">
                  <c:v>43777</c:v>
                </c:pt>
                <c:pt idx="314">
                  <c:v>43784</c:v>
                </c:pt>
                <c:pt idx="315">
                  <c:v>43791</c:v>
                </c:pt>
                <c:pt idx="316">
                  <c:v>43798</c:v>
                </c:pt>
                <c:pt idx="317">
                  <c:v>43805</c:v>
                </c:pt>
                <c:pt idx="318">
                  <c:v>43812</c:v>
                </c:pt>
                <c:pt idx="319">
                  <c:v>43819</c:v>
                </c:pt>
                <c:pt idx="320">
                  <c:v>43826</c:v>
                </c:pt>
                <c:pt idx="321">
                  <c:v>43833</c:v>
                </c:pt>
                <c:pt idx="322">
                  <c:v>43840</c:v>
                </c:pt>
                <c:pt idx="323">
                  <c:v>43847</c:v>
                </c:pt>
                <c:pt idx="324">
                  <c:v>43854</c:v>
                </c:pt>
                <c:pt idx="325">
                  <c:v>43861</c:v>
                </c:pt>
                <c:pt idx="326">
                  <c:v>43868</c:v>
                </c:pt>
                <c:pt idx="327">
                  <c:v>43875</c:v>
                </c:pt>
                <c:pt idx="328">
                  <c:v>43882</c:v>
                </c:pt>
                <c:pt idx="329">
                  <c:v>43889</c:v>
                </c:pt>
                <c:pt idx="330">
                  <c:v>43896</c:v>
                </c:pt>
                <c:pt idx="331">
                  <c:v>43903</c:v>
                </c:pt>
                <c:pt idx="332">
                  <c:v>43910</c:v>
                </c:pt>
                <c:pt idx="333">
                  <c:v>43917</c:v>
                </c:pt>
                <c:pt idx="334">
                  <c:v>43924</c:v>
                </c:pt>
                <c:pt idx="335">
                  <c:v>43931</c:v>
                </c:pt>
                <c:pt idx="336">
                  <c:v>43938</c:v>
                </c:pt>
                <c:pt idx="337">
                  <c:v>43945</c:v>
                </c:pt>
                <c:pt idx="338">
                  <c:v>43952</c:v>
                </c:pt>
                <c:pt idx="339">
                  <c:v>43959</c:v>
                </c:pt>
                <c:pt idx="340">
                  <c:v>43966</c:v>
                </c:pt>
                <c:pt idx="341">
                  <c:v>43973</c:v>
                </c:pt>
                <c:pt idx="342">
                  <c:v>43980</c:v>
                </c:pt>
                <c:pt idx="343">
                  <c:v>43987</c:v>
                </c:pt>
                <c:pt idx="344">
                  <c:v>43994</c:v>
                </c:pt>
                <c:pt idx="345">
                  <c:v>44001</c:v>
                </c:pt>
                <c:pt idx="346">
                  <c:v>44008</c:v>
                </c:pt>
                <c:pt idx="347">
                  <c:v>44015</c:v>
                </c:pt>
                <c:pt idx="348">
                  <c:v>44022</c:v>
                </c:pt>
                <c:pt idx="349">
                  <c:v>44029</c:v>
                </c:pt>
                <c:pt idx="350">
                  <c:v>44036</c:v>
                </c:pt>
                <c:pt idx="351">
                  <c:v>44043</c:v>
                </c:pt>
                <c:pt idx="352">
                  <c:v>44050</c:v>
                </c:pt>
                <c:pt idx="353">
                  <c:v>44057</c:v>
                </c:pt>
                <c:pt idx="354">
                  <c:v>44064</c:v>
                </c:pt>
                <c:pt idx="355">
                  <c:v>44071</c:v>
                </c:pt>
                <c:pt idx="356">
                  <c:v>44078</c:v>
                </c:pt>
                <c:pt idx="357">
                  <c:v>44085</c:v>
                </c:pt>
                <c:pt idx="358">
                  <c:v>44092</c:v>
                </c:pt>
                <c:pt idx="359">
                  <c:v>44099</c:v>
                </c:pt>
                <c:pt idx="360">
                  <c:v>44106</c:v>
                </c:pt>
                <c:pt idx="361">
                  <c:v>44113</c:v>
                </c:pt>
                <c:pt idx="362">
                  <c:v>44120</c:v>
                </c:pt>
                <c:pt idx="363">
                  <c:v>44127</c:v>
                </c:pt>
                <c:pt idx="364">
                  <c:v>44134</c:v>
                </c:pt>
                <c:pt idx="365">
                  <c:v>44141</c:v>
                </c:pt>
                <c:pt idx="366">
                  <c:v>44148</c:v>
                </c:pt>
                <c:pt idx="367">
                  <c:v>44155</c:v>
                </c:pt>
                <c:pt idx="368">
                  <c:v>44162</c:v>
                </c:pt>
                <c:pt idx="369">
                  <c:v>44169</c:v>
                </c:pt>
                <c:pt idx="370">
                  <c:v>44176</c:v>
                </c:pt>
                <c:pt idx="371">
                  <c:v>44183</c:v>
                </c:pt>
                <c:pt idx="372">
                  <c:v>44190</c:v>
                </c:pt>
                <c:pt idx="373">
                  <c:v>44197</c:v>
                </c:pt>
                <c:pt idx="374">
                  <c:v>44204</c:v>
                </c:pt>
                <c:pt idx="375">
                  <c:v>44211</c:v>
                </c:pt>
                <c:pt idx="376">
                  <c:v>44218</c:v>
                </c:pt>
                <c:pt idx="377">
                  <c:v>44225</c:v>
                </c:pt>
                <c:pt idx="378">
                  <c:v>44232</c:v>
                </c:pt>
                <c:pt idx="379">
                  <c:v>44239</c:v>
                </c:pt>
                <c:pt idx="380">
                  <c:v>44246</c:v>
                </c:pt>
                <c:pt idx="381">
                  <c:v>44253</c:v>
                </c:pt>
                <c:pt idx="382">
                  <c:v>44260</c:v>
                </c:pt>
                <c:pt idx="383">
                  <c:v>44267</c:v>
                </c:pt>
                <c:pt idx="384">
                  <c:v>44274</c:v>
                </c:pt>
                <c:pt idx="385">
                  <c:v>44281</c:v>
                </c:pt>
                <c:pt idx="386">
                  <c:v>44288</c:v>
                </c:pt>
                <c:pt idx="387">
                  <c:v>44295</c:v>
                </c:pt>
                <c:pt idx="388">
                  <c:v>44302</c:v>
                </c:pt>
                <c:pt idx="389">
                  <c:v>44309</c:v>
                </c:pt>
                <c:pt idx="390">
                  <c:v>44316</c:v>
                </c:pt>
                <c:pt idx="391">
                  <c:v>44323</c:v>
                </c:pt>
                <c:pt idx="392">
                  <c:v>44330</c:v>
                </c:pt>
                <c:pt idx="393">
                  <c:v>44337</c:v>
                </c:pt>
                <c:pt idx="394">
                  <c:v>44344</c:v>
                </c:pt>
                <c:pt idx="395">
                  <c:v>44351</c:v>
                </c:pt>
                <c:pt idx="396">
                  <c:v>44358</c:v>
                </c:pt>
                <c:pt idx="397">
                  <c:v>44365</c:v>
                </c:pt>
                <c:pt idx="398">
                  <c:v>44372</c:v>
                </c:pt>
                <c:pt idx="399">
                  <c:v>44379</c:v>
                </c:pt>
                <c:pt idx="400">
                  <c:v>44386</c:v>
                </c:pt>
                <c:pt idx="401">
                  <c:v>44393</c:v>
                </c:pt>
                <c:pt idx="402">
                  <c:v>44400</c:v>
                </c:pt>
                <c:pt idx="403">
                  <c:v>44407</c:v>
                </c:pt>
                <c:pt idx="404">
                  <c:v>44414</c:v>
                </c:pt>
                <c:pt idx="405">
                  <c:v>44421</c:v>
                </c:pt>
                <c:pt idx="406">
                  <c:v>44428</c:v>
                </c:pt>
                <c:pt idx="407">
                  <c:v>44435</c:v>
                </c:pt>
                <c:pt idx="408">
                  <c:v>44442</c:v>
                </c:pt>
                <c:pt idx="409">
                  <c:v>44449</c:v>
                </c:pt>
                <c:pt idx="410">
                  <c:v>44456</c:v>
                </c:pt>
                <c:pt idx="411">
                  <c:v>44463</c:v>
                </c:pt>
                <c:pt idx="412">
                  <c:v>44470</c:v>
                </c:pt>
                <c:pt idx="413">
                  <c:v>44477</c:v>
                </c:pt>
                <c:pt idx="414">
                  <c:v>44484</c:v>
                </c:pt>
                <c:pt idx="415">
                  <c:v>44491</c:v>
                </c:pt>
                <c:pt idx="416">
                  <c:v>44498</c:v>
                </c:pt>
                <c:pt idx="417">
                  <c:v>44505</c:v>
                </c:pt>
                <c:pt idx="418">
                  <c:v>44512</c:v>
                </c:pt>
                <c:pt idx="419">
                  <c:v>44519</c:v>
                </c:pt>
                <c:pt idx="420">
                  <c:v>44526</c:v>
                </c:pt>
                <c:pt idx="421">
                  <c:v>44533</c:v>
                </c:pt>
                <c:pt idx="422">
                  <c:v>44540</c:v>
                </c:pt>
                <c:pt idx="423">
                  <c:v>44547</c:v>
                </c:pt>
                <c:pt idx="424">
                  <c:v>44554</c:v>
                </c:pt>
                <c:pt idx="425">
                  <c:v>44561</c:v>
                </c:pt>
                <c:pt idx="426">
                  <c:v>44568</c:v>
                </c:pt>
                <c:pt idx="427">
                  <c:v>44575</c:v>
                </c:pt>
                <c:pt idx="428">
                  <c:v>44582</c:v>
                </c:pt>
                <c:pt idx="429">
                  <c:v>44589</c:v>
                </c:pt>
                <c:pt idx="430">
                  <c:v>44596</c:v>
                </c:pt>
                <c:pt idx="431">
                  <c:v>44603</c:v>
                </c:pt>
                <c:pt idx="432">
                  <c:v>44610</c:v>
                </c:pt>
                <c:pt idx="433">
                  <c:v>44617</c:v>
                </c:pt>
                <c:pt idx="434">
                  <c:v>44624</c:v>
                </c:pt>
                <c:pt idx="435">
                  <c:v>44631</c:v>
                </c:pt>
                <c:pt idx="436">
                  <c:v>44638</c:v>
                </c:pt>
                <c:pt idx="437">
                  <c:v>44645</c:v>
                </c:pt>
                <c:pt idx="438">
                  <c:v>44652</c:v>
                </c:pt>
                <c:pt idx="439">
                  <c:v>44659</c:v>
                </c:pt>
                <c:pt idx="440">
                  <c:v>44666</c:v>
                </c:pt>
                <c:pt idx="441">
                  <c:v>44673</c:v>
                </c:pt>
                <c:pt idx="442">
                  <c:v>44680</c:v>
                </c:pt>
                <c:pt idx="443">
                  <c:v>44687</c:v>
                </c:pt>
                <c:pt idx="444">
                  <c:v>44694</c:v>
                </c:pt>
                <c:pt idx="445">
                  <c:v>44701</c:v>
                </c:pt>
                <c:pt idx="446">
                  <c:v>44708</c:v>
                </c:pt>
                <c:pt idx="447">
                  <c:v>44715</c:v>
                </c:pt>
                <c:pt idx="448">
                  <c:v>44722</c:v>
                </c:pt>
                <c:pt idx="449">
                  <c:v>44729</c:v>
                </c:pt>
                <c:pt idx="450">
                  <c:v>44736</c:v>
                </c:pt>
                <c:pt idx="451">
                  <c:v>44743</c:v>
                </c:pt>
                <c:pt idx="452">
                  <c:v>44750</c:v>
                </c:pt>
                <c:pt idx="453">
                  <c:v>44757</c:v>
                </c:pt>
                <c:pt idx="454">
                  <c:v>44764</c:v>
                </c:pt>
                <c:pt idx="455">
                  <c:v>44771</c:v>
                </c:pt>
                <c:pt idx="456">
                  <c:v>44778</c:v>
                </c:pt>
                <c:pt idx="457">
                  <c:v>44785</c:v>
                </c:pt>
                <c:pt idx="458">
                  <c:v>44792</c:v>
                </c:pt>
                <c:pt idx="459">
                  <c:v>44799</c:v>
                </c:pt>
                <c:pt idx="460">
                  <c:v>44806</c:v>
                </c:pt>
                <c:pt idx="461">
                  <c:v>44813</c:v>
                </c:pt>
                <c:pt idx="462">
                  <c:v>44820</c:v>
                </c:pt>
                <c:pt idx="463">
                  <c:v>44827</c:v>
                </c:pt>
                <c:pt idx="464">
                  <c:v>44834</c:v>
                </c:pt>
                <c:pt idx="465">
                  <c:v>44841</c:v>
                </c:pt>
                <c:pt idx="466">
                  <c:v>44848</c:v>
                </c:pt>
                <c:pt idx="467">
                  <c:v>44855</c:v>
                </c:pt>
                <c:pt idx="468">
                  <c:v>44862</c:v>
                </c:pt>
                <c:pt idx="469">
                  <c:v>44869</c:v>
                </c:pt>
                <c:pt idx="470">
                  <c:v>44876</c:v>
                </c:pt>
                <c:pt idx="471">
                  <c:v>44883</c:v>
                </c:pt>
                <c:pt idx="472">
                  <c:v>44890</c:v>
                </c:pt>
                <c:pt idx="473">
                  <c:v>44897</c:v>
                </c:pt>
                <c:pt idx="474">
                  <c:v>44904</c:v>
                </c:pt>
                <c:pt idx="475">
                  <c:v>44911</c:v>
                </c:pt>
                <c:pt idx="476">
                  <c:v>44918</c:v>
                </c:pt>
                <c:pt idx="477">
                  <c:v>44925</c:v>
                </c:pt>
                <c:pt idx="478">
                  <c:v>44932</c:v>
                </c:pt>
                <c:pt idx="479">
                  <c:v>44939</c:v>
                </c:pt>
                <c:pt idx="480">
                  <c:v>44946</c:v>
                </c:pt>
                <c:pt idx="481">
                  <c:v>44953</c:v>
                </c:pt>
                <c:pt idx="482">
                  <c:v>44960</c:v>
                </c:pt>
                <c:pt idx="483">
                  <c:v>44967</c:v>
                </c:pt>
                <c:pt idx="484">
                  <c:v>44974</c:v>
                </c:pt>
                <c:pt idx="485">
                  <c:v>44981</c:v>
                </c:pt>
                <c:pt idx="486">
                  <c:v>44988</c:v>
                </c:pt>
                <c:pt idx="487">
                  <c:v>44995</c:v>
                </c:pt>
                <c:pt idx="488">
                  <c:v>45002</c:v>
                </c:pt>
                <c:pt idx="489">
                  <c:v>45009</c:v>
                </c:pt>
                <c:pt idx="490">
                  <c:v>45016</c:v>
                </c:pt>
                <c:pt idx="491">
                  <c:v>45023</c:v>
                </c:pt>
                <c:pt idx="492">
                  <c:v>45030</c:v>
                </c:pt>
                <c:pt idx="493">
                  <c:v>45037</c:v>
                </c:pt>
                <c:pt idx="494">
                  <c:v>45044</c:v>
                </c:pt>
                <c:pt idx="495">
                  <c:v>45051</c:v>
                </c:pt>
                <c:pt idx="496">
                  <c:v>45058</c:v>
                </c:pt>
                <c:pt idx="497">
                  <c:v>45065</c:v>
                </c:pt>
                <c:pt idx="498">
                  <c:v>45072</c:v>
                </c:pt>
                <c:pt idx="499">
                  <c:v>45079</c:v>
                </c:pt>
                <c:pt idx="500">
                  <c:v>45086</c:v>
                </c:pt>
                <c:pt idx="501">
                  <c:v>45093</c:v>
                </c:pt>
                <c:pt idx="502">
                  <c:v>45100</c:v>
                </c:pt>
                <c:pt idx="503">
                  <c:v>45107</c:v>
                </c:pt>
                <c:pt idx="504">
                  <c:v>45114</c:v>
                </c:pt>
                <c:pt idx="505">
                  <c:v>45121</c:v>
                </c:pt>
                <c:pt idx="506">
                  <c:v>45128</c:v>
                </c:pt>
                <c:pt idx="507">
                  <c:v>45135</c:v>
                </c:pt>
                <c:pt idx="508">
                  <c:v>45142</c:v>
                </c:pt>
                <c:pt idx="509">
                  <c:v>45149</c:v>
                </c:pt>
                <c:pt idx="510">
                  <c:v>45156</c:v>
                </c:pt>
                <c:pt idx="511">
                  <c:v>45163</c:v>
                </c:pt>
                <c:pt idx="512">
                  <c:v>45170</c:v>
                </c:pt>
                <c:pt idx="513">
                  <c:v>45177</c:v>
                </c:pt>
                <c:pt idx="514">
                  <c:v>45184</c:v>
                </c:pt>
                <c:pt idx="515">
                  <c:v>45191</c:v>
                </c:pt>
                <c:pt idx="516">
                  <c:v>45198</c:v>
                </c:pt>
                <c:pt idx="517">
                  <c:v>45205</c:v>
                </c:pt>
                <c:pt idx="518">
                  <c:v>45212</c:v>
                </c:pt>
                <c:pt idx="519">
                  <c:v>45219</c:v>
                </c:pt>
                <c:pt idx="520">
                  <c:v>45226</c:v>
                </c:pt>
                <c:pt idx="521">
                  <c:v>45233</c:v>
                </c:pt>
              </c:numCache>
            </c:numRef>
          </c:cat>
          <c:val>
            <c:numRef>
              <c:f>Hoja1!$B$2:$B$523</c:f>
              <c:numCache>
                <c:formatCode>0.00%</c:formatCode>
                <c:ptCount val="522"/>
                <c:pt idx="0">
                  <c:v>0</c:v>
                </c:pt>
                <c:pt idx="1">
                  <c:v>1.1796618723189267E-2</c:v>
                </c:pt>
                <c:pt idx="2">
                  <c:v>1.834153419126916E-2</c:v>
                </c:pt>
                <c:pt idx="3">
                  <c:v>-2.2394650517285619E-3</c:v>
                </c:pt>
                <c:pt idx="4">
                  <c:v>-1.8136512742873423E-3</c:v>
                </c:pt>
                <c:pt idx="5">
                  <c:v>-1.7001009336361506E-2</c:v>
                </c:pt>
                <c:pt idx="6">
                  <c:v>6.2452687358061088E-3</c:v>
                </c:pt>
                <c:pt idx="7">
                  <c:v>2.6637017411052177E-2</c:v>
                </c:pt>
                <c:pt idx="8">
                  <c:v>1.1749306081251465E-2</c:v>
                </c:pt>
                <c:pt idx="9">
                  <c:v>1.222243250063082E-2</c:v>
                </c:pt>
                <c:pt idx="10">
                  <c:v>8.5162755488266129E-4</c:v>
                </c:pt>
                <c:pt idx="11">
                  <c:v>-2.2757380772142399E-2</c:v>
                </c:pt>
                <c:pt idx="12">
                  <c:v>-3.7282361847085554E-2</c:v>
                </c:pt>
                <c:pt idx="13">
                  <c:v>-3.291382790815045E-2</c:v>
                </c:pt>
                <c:pt idx="14">
                  <c:v>-1.0992303810244852E-2</c:v>
                </c:pt>
                <c:pt idx="15">
                  <c:v>-6.7341660358315458E-3</c:v>
                </c:pt>
                <c:pt idx="16">
                  <c:v>6.7499369164774059E-3</c:v>
                </c:pt>
                <c:pt idx="17">
                  <c:v>9.5886954327528695E-3</c:v>
                </c:pt>
                <c:pt idx="18">
                  <c:v>-8.0431491294473689E-3</c:v>
                </c:pt>
                <c:pt idx="19">
                  <c:v>4.5420136260407862E-3</c:v>
                </c:pt>
                <c:pt idx="20">
                  <c:v>2.9806964420893145E-2</c:v>
                </c:pt>
                <c:pt idx="21">
                  <c:v>4.0089578602068965E-2</c:v>
                </c:pt>
                <c:pt idx="22">
                  <c:v>2.321473631087545E-2</c:v>
                </c:pt>
                <c:pt idx="23">
                  <c:v>7.1032046429472473E-2</c:v>
                </c:pt>
                <c:pt idx="24">
                  <c:v>7.4974766590966357E-2</c:v>
                </c:pt>
                <c:pt idx="25">
                  <c:v>8.1929724955841499E-2</c:v>
                </c:pt>
                <c:pt idx="26">
                  <c:v>8.0857305071915242E-2</c:v>
                </c:pt>
                <c:pt idx="27">
                  <c:v>7.4201993439313663E-2</c:v>
                </c:pt>
                <c:pt idx="28">
                  <c:v>8.3301791572041317E-2</c:v>
                </c:pt>
                <c:pt idx="29">
                  <c:v>9.3647489275801243E-2</c:v>
                </c:pt>
                <c:pt idx="30">
                  <c:v>0.10889793086045918</c:v>
                </c:pt>
                <c:pt idx="31">
                  <c:v>0.12734986121625025</c:v>
                </c:pt>
                <c:pt idx="32">
                  <c:v>0.15783497350492048</c:v>
                </c:pt>
                <c:pt idx="33">
                  <c:v>0.14736310875599279</c:v>
                </c:pt>
                <c:pt idx="34">
                  <c:v>0.15185780974009577</c:v>
                </c:pt>
                <c:pt idx="35">
                  <c:v>0.13115064345193028</c:v>
                </c:pt>
                <c:pt idx="36">
                  <c:v>0.13851564471360067</c:v>
                </c:pt>
                <c:pt idx="37">
                  <c:v>0.14782046429472606</c:v>
                </c:pt>
                <c:pt idx="38">
                  <c:v>0.10060244764067616</c:v>
                </c:pt>
                <c:pt idx="39">
                  <c:v>0.10948145344436022</c:v>
                </c:pt>
                <c:pt idx="40">
                  <c:v>0.10419820842795846</c:v>
                </c:pt>
                <c:pt idx="41">
                  <c:v>0.11036462276053483</c:v>
                </c:pt>
                <c:pt idx="42">
                  <c:v>0.12875346959374201</c:v>
                </c:pt>
                <c:pt idx="43">
                  <c:v>0.11127933383800137</c:v>
                </c:pt>
                <c:pt idx="44">
                  <c:v>6.9786146858440645E-2</c:v>
                </c:pt>
                <c:pt idx="45">
                  <c:v>8.0021448397678441E-2</c:v>
                </c:pt>
                <c:pt idx="46">
                  <c:v>5.9724325006308421E-2</c:v>
                </c:pt>
                <c:pt idx="47">
                  <c:v>1.9208932626797903E-2</c:v>
                </c:pt>
                <c:pt idx="48">
                  <c:v>-3.2093742114559731E-2</c:v>
                </c:pt>
                <c:pt idx="49">
                  <c:v>-4.2865253595760877E-2</c:v>
                </c:pt>
                <c:pt idx="50">
                  <c:v>-9.2259651778955343E-3</c:v>
                </c:pt>
                <c:pt idx="51">
                  <c:v>1.1418117587686183E-2</c:v>
                </c:pt>
                <c:pt idx="52">
                  <c:v>1.3752207923290349E-2</c:v>
                </c:pt>
                <c:pt idx="53">
                  <c:v>-6.6237698713096371E-3</c:v>
                </c:pt>
                <c:pt idx="54">
                  <c:v>1.8168054504163589E-2</c:v>
                </c:pt>
                <c:pt idx="55">
                  <c:v>-7.8065859197577581E-2</c:v>
                </c:pt>
                <c:pt idx="56">
                  <c:v>-6.7105097148624893E-2</c:v>
                </c:pt>
                <c:pt idx="57">
                  <c:v>-0.1422218016654051</c:v>
                </c:pt>
                <c:pt idx="58">
                  <c:v>-5.8714988644965938E-2</c:v>
                </c:pt>
                <c:pt idx="59">
                  <c:v>-6.4487130961392913E-2</c:v>
                </c:pt>
                <c:pt idx="60">
                  <c:v>-7.0905879384304926E-2</c:v>
                </c:pt>
                <c:pt idx="61">
                  <c:v>-0.10434014635377253</c:v>
                </c:pt>
                <c:pt idx="62">
                  <c:v>-0.11784002018672723</c:v>
                </c:pt>
                <c:pt idx="63">
                  <c:v>-0.10377239465051735</c:v>
                </c:pt>
                <c:pt idx="64">
                  <c:v>-0.12006371435780971</c:v>
                </c:pt>
                <c:pt idx="65">
                  <c:v>-7.2703759777946075E-2</c:v>
                </c:pt>
                <c:pt idx="66">
                  <c:v>-4.8385061821852204E-2</c:v>
                </c:pt>
                <c:pt idx="67">
                  <c:v>-7.0984733787534671E-2</c:v>
                </c:pt>
                <c:pt idx="68">
                  <c:v>-8.9215871814282144E-2</c:v>
                </c:pt>
                <c:pt idx="69">
                  <c:v>-0.11578980570275055</c:v>
                </c:pt>
                <c:pt idx="70">
                  <c:v>-0.14069202624274546</c:v>
                </c:pt>
                <c:pt idx="71">
                  <c:v>-0.11162629321221307</c:v>
                </c:pt>
                <c:pt idx="72">
                  <c:v>-0.11804504163512497</c:v>
                </c:pt>
                <c:pt idx="73">
                  <c:v>-0.10454516780217016</c:v>
                </c:pt>
                <c:pt idx="74">
                  <c:v>-7.6835730507191613E-2</c:v>
                </c:pt>
                <c:pt idx="75">
                  <c:v>-5.720098410295249E-2</c:v>
                </c:pt>
                <c:pt idx="76">
                  <c:v>-5.6932879131970759E-2</c:v>
                </c:pt>
                <c:pt idx="77">
                  <c:v>-4.6255992934645551E-2</c:v>
                </c:pt>
                <c:pt idx="78">
                  <c:v>-5.720098410295249E-2</c:v>
                </c:pt>
                <c:pt idx="79">
                  <c:v>-7.2782614181176042E-2</c:v>
                </c:pt>
                <c:pt idx="80">
                  <c:v>-7.986373959121873E-2</c:v>
                </c:pt>
                <c:pt idx="81">
                  <c:v>-9.8836109008327178E-2</c:v>
                </c:pt>
                <c:pt idx="82">
                  <c:v>-0.10755740600555141</c:v>
                </c:pt>
                <c:pt idx="83">
                  <c:v>-0.11588443098662626</c:v>
                </c:pt>
                <c:pt idx="84">
                  <c:v>-0.119969089073934</c:v>
                </c:pt>
                <c:pt idx="85">
                  <c:v>-0.12105727983850612</c:v>
                </c:pt>
                <c:pt idx="86">
                  <c:v>-0.13846833207166298</c:v>
                </c:pt>
                <c:pt idx="87">
                  <c:v>-0.1511323492303811</c:v>
                </c:pt>
                <c:pt idx="88">
                  <c:v>-0.1612099419631593</c:v>
                </c:pt>
                <c:pt idx="89">
                  <c:v>-0.1953065859197578</c:v>
                </c:pt>
                <c:pt idx="90">
                  <c:v>-0.19876040878122636</c:v>
                </c:pt>
                <c:pt idx="91">
                  <c:v>-0.22667486752460264</c:v>
                </c:pt>
                <c:pt idx="92">
                  <c:v>-0.20191458491042147</c:v>
                </c:pt>
                <c:pt idx="93">
                  <c:v>-0.2709279586172092</c:v>
                </c:pt>
                <c:pt idx="94">
                  <c:v>-0.24432248296744896</c:v>
                </c:pt>
                <c:pt idx="95">
                  <c:v>-0.26794726217511988</c:v>
                </c:pt>
                <c:pt idx="96">
                  <c:v>-0.27304125662376999</c:v>
                </c:pt>
                <c:pt idx="97">
                  <c:v>-0.27073870804945754</c:v>
                </c:pt>
                <c:pt idx="98">
                  <c:v>-0.27950731768861969</c:v>
                </c:pt>
                <c:pt idx="99">
                  <c:v>-0.25925750693918759</c:v>
                </c:pt>
                <c:pt idx="100">
                  <c:v>-0.20170956346202373</c:v>
                </c:pt>
                <c:pt idx="101">
                  <c:v>-0.19576394145849108</c:v>
                </c:pt>
                <c:pt idx="102">
                  <c:v>-0.20380709058793844</c:v>
                </c:pt>
                <c:pt idx="103">
                  <c:v>-0.20812831188493564</c:v>
                </c:pt>
                <c:pt idx="104">
                  <c:v>-0.18904554630330561</c:v>
                </c:pt>
                <c:pt idx="105">
                  <c:v>-0.23744637900580379</c:v>
                </c:pt>
                <c:pt idx="106">
                  <c:v>-0.22744764067625534</c:v>
                </c:pt>
                <c:pt idx="107">
                  <c:v>-0.21722811001766351</c:v>
                </c:pt>
                <c:pt idx="108">
                  <c:v>-0.25255488266464809</c:v>
                </c:pt>
                <c:pt idx="109">
                  <c:v>-0.30112919505425184</c:v>
                </c:pt>
                <c:pt idx="110">
                  <c:v>-0.30847842543527637</c:v>
                </c:pt>
                <c:pt idx="111">
                  <c:v>-0.27663701741105229</c:v>
                </c:pt>
                <c:pt idx="112">
                  <c:v>-0.29277062831188494</c:v>
                </c:pt>
                <c:pt idx="113">
                  <c:v>-0.34113991925309117</c:v>
                </c:pt>
                <c:pt idx="114">
                  <c:v>-0.35465556396669196</c:v>
                </c:pt>
                <c:pt idx="115">
                  <c:v>-0.34230696442089337</c:v>
                </c:pt>
                <c:pt idx="116">
                  <c:v>-0.31448713096139291</c:v>
                </c:pt>
                <c:pt idx="117">
                  <c:v>-0.33744953318193294</c:v>
                </c:pt>
                <c:pt idx="118">
                  <c:v>-0.34282740348221052</c:v>
                </c:pt>
                <c:pt idx="119">
                  <c:v>-0.32694612667171341</c:v>
                </c:pt>
                <c:pt idx="120">
                  <c:v>-0.3242335352006056</c:v>
                </c:pt>
                <c:pt idx="121">
                  <c:v>-0.28509020943729502</c:v>
                </c:pt>
                <c:pt idx="122">
                  <c:v>-0.27154302296240229</c:v>
                </c:pt>
                <c:pt idx="123">
                  <c:v>-0.2534853646227605</c:v>
                </c:pt>
                <c:pt idx="124">
                  <c:v>-0.27163764824627812</c:v>
                </c:pt>
                <c:pt idx="125">
                  <c:v>-0.28084784254352768</c:v>
                </c:pt>
                <c:pt idx="126">
                  <c:v>-0.26502964925561456</c:v>
                </c:pt>
                <c:pt idx="127">
                  <c:v>-0.25048889730002533</c:v>
                </c:pt>
                <c:pt idx="128">
                  <c:v>-0.21151905122382042</c:v>
                </c:pt>
                <c:pt idx="129">
                  <c:v>-0.20763941458491042</c:v>
                </c:pt>
                <c:pt idx="130">
                  <c:v>-0.23102763058289189</c:v>
                </c:pt>
                <c:pt idx="131">
                  <c:v>-0.23487572546050983</c:v>
                </c:pt>
                <c:pt idx="132">
                  <c:v>-0.22328412818571797</c:v>
                </c:pt>
                <c:pt idx="133">
                  <c:v>-0.21243376230128697</c:v>
                </c:pt>
                <c:pt idx="134">
                  <c:v>-0.22042959878879642</c:v>
                </c:pt>
                <c:pt idx="135">
                  <c:v>-0.20964231642694942</c:v>
                </c:pt>
                <c:pt idx="136">
                  <c:v>-0.21016275548826657</c:v>
                </c:pt>
                <c:pt idx="137">
                  <c:v>-0.21505172848851883</c:v>
                </c:pt>
                <c:pt idx="138">
                  <c:v>-0.18813083522583907</c:v>
                </c:pt>
                <c:pt idx="139">
                  <c:v>-0.1972464042392128</c:v>
                </c:pt>
                <c:pt idx="140">
                  <c:v>-0.18051349987383303</c:v>
                </c:pt>
                <c:pt idx="141">
                  <c:v>-0.19123769871309615</c:v>
                </c:pt>
                <c:pt idx="142">
                  <c:v>-0.20793906131718398</c:v>
                </c:pt>
                <c:pt idx="143">
                  <c:v>-0.2084279586172092</c:v>
                </c:pt>
                <c:pt idx="144">
                  <c:v>-0.19858692909412068</c:v>
                </c:pt>
                <c:pt idx="145">
                  <c:v>-0.18283181932879145</c:v>
                </c:pt>
                <c:pt idx="146">
                  <c:v>-0.19376103961645219</c:v>
                </c:pt>
                <c:pt idx="147">
                  <c:v>-0.19828728236184712</c:v>
                </c:pt>
                <c:pt idx="148">
                  <c:v>-0.19303557910673741</c:v>
                </c:pt>
                <c:pt idx="149">
                  <c:v>-0.21651842038859448</c:v>
                </c:pt>
                <c:pt idx="150">
                  <c:v>-0.21576141811758776</c:v>
                </c:pt>
                <c:pt idx="151">
                  <c:v>-0.1793622255866768</c:v>
                </c:pt>
                <c:pt idx="152">
                  <c:v>-0.17947262175119871</c:v>
                </c:pt>
                <c:pt idx="153">
                  <c:v>-0.18895092101942979</c:v>
                </c:pt>
                <c:pt idx="154">
                  <c:v>-0.1848978046934141</c:v>
                </c:pt>
                <c:pt idx="155">
                  <c:v>-0.19447072924552111</c:v>
                </c:pt>
                <c:pt idx="156">
                  <c:v>-0.21196063588190772</c:v>
                </c:pt>
                <c:pt idx="157">
                  <c:v>-0.19377681049709827</c:v>
                </c:pt>
                <c:pt idx="158">
                  <c:v>-0.17830557658339652</c:v>
                </c:pt>
                <c:pt idx="159">
                  <c:v>-0.15990095886954325</c:v>
                </c:pt>
                <c:pt idx="160">
                  <c:v>-0.13774287156194809</c:v>
                </c:pt>
                <c:pt idx="161">
                  <c:v>-0.11886512742871558</c:v>
                </c:pt>
                <c:pt idx="162">
                  <c:v>-0.11181554377996483</c:v>
                </c:pt>
                <c:pt idx="163">
                  <c:v>-0.11437042644461282</c:v>
                </c:pt>
                <c:pt idx="164">
                  <c:v>-0.1255046681806713</c:v>
                </c:pt>
                <c:pt idx="165">
                  <c:v>-0.12066300782235673</c:v>
                </c:pt>
                <c:pt idx="166">
                  <c:v>-0.13739591218773661</c:v>
                </c:pt>
                <c:pt idx="167">
                  <c:v>-0.1366862225586678</c:v>
                </c:pt>
                <c:pt idx="168">
                  <c:v>-0.14140171587181438</c:v>
                </c:pt>
                <c:pt idx="169">
                  <c:v>-0.15146353772394661</c:v>
                </c:pt>
                <c:pt idx="170">
                  <c:v>-0.1571725965177897</c:v>
                </c:pt>
                <c:pt idx="171">
                  <c:v>-0.17470981579611422</c:v>
                </c:pt>
                <c:pt idx="172">
                  <c:v>-0.18538670199343943</c:v>
                </c:pt>
                <c:pt idx="173">
                  <c:v>-0.17363739591218774</c:v>
                </c:pt>
                <c:pt idx="174">
                  <c:v>-0.19544852384557165</c:v>
                </c:pt>
                <c:pt idx="175">
                  <c:v>-0.1928147867776937</c:v>
                </c:pt>
                <c:pt idx="176">
                  <c:v>-0.20685087055261164</c:v>
                </c:pt>
                <c:pt idx="177">
                  <c:v>-0.18936096391622514</c:v>
                </c:pt>
                <c:pt idx="178">
                  <c:v>-0.18444044915468083</c:v>
                </c:pt>
                <c:pt idx="179">
                  <c:v>-0.19663133989401982</c:v>
                </c:pt>
                <c:pt idx="180">
                  <c:v>-0.21377428715619484</c:v>
                </c:pt>
                <c:pt idx="181">
                  <c:v>-0.21311191016906395</c:v>
                </c:pt>
                <c:pt idx="182">
                  <c:v>-0.21863171839515527</c:v>
                </c:pt>
                <c:pt idx="183">
                  <c:v>-0.21563525107241988</c:v>
                </c:pt>
                <c:pt idx="184">
                  <c:v>-0.21437358062074197</c:v>
                </c:pt>
                <c:pt idx="185">
                  <c:v>-0.23118533938935149</c:v>
                </c:pt>
                <c:pt idx="186">
                  <c:v>-0.24824943224829676</c:v>
                </c:pt>
                <c:pt idx="187">
                  <c:v>-0.23276242745394904</c:v>
                </c:pt>
                <c:pt idx="188">
                  <c:v>-0.22888279081503915</c:v>
                </c:pt>
                <c:pt idx="189">
                  <c:v>-0.25115127428715622</c:v>
                </c:pt>
                <c:pt idx="190">
                  <c:v>-0.24629384304819579</c:v>
                </c:pt>
                <c:pt idx="191">
                  <c:v>-0.25569328791319712</c:v>
                </c:pt>
                <c:pt idx="192">
                  <c:v>-0.24019051223820342</c:v>
                </c:pt>
                <c:pt idx="193">
                  <c:v>-0.24386512742871569</c:v>
                </c:pt>
                <c:pt idx="194">
                  <c:v>-0.2296871057279839</c:v>
                </c:pt>
                <c:pt idx="195">
                  <c:v>-0.23757254605097156</c:v>
                </c:pt>
                <c:pt idx="196">
                  <c:v>-0.25947829926823118</c:v>
                </c:pt>
                <c:pt idx="197">
                  <c:v>-0.27912881655311639</c:v>
                </c:pt>
                <c:pt idx="198">
                  <c:v>-0.27173227353015406</c:v>
                </c:pt>
                <c:pt idx="199">
                  <c:v>-0.26608629825889485</c:v>
                </c:pt>
                <c:pt idx="200">
                  <c:v>-0.25651337370678784</c:v>
                </c:pt>
                <c:pt idx="201">
                  <c:v>-0.23075952561191027</c:v>
                </c:pt>
                <c:pt idx="202">
                  <c:v>-0.21554062578854405</c:v>
                </c:pt>
                <c:pt idx="203">
                  <c:v>-0.20085793590714107</c:v>
                </c:pt>
                <c:pt idx="204">
                  <c:v>-0.20547880393641182</c:v>
                </c:pt>
                <c:pt idx="205">
                  <c:v>-0.20434330052990168</c:v>
                </c:pt>
                <c:pt idx="206">
                  <c:v>-0.20789174867524607</c:v>
                </c:pt>
                <c:pt idx="207">
                  <c:v>-0.21232336613676517</c:v>
                </c:pt>
                <c:pt idx="208">
                  <c:v>-0.19861847085541262</c:v>
                </c:pt>
                <c:pt idx="209">
                  <c:v>-0.18989717385818838</c:v>
                </c:pt>
                <c:pt idx="210">
                  <c:v>-0.21724388089830948</c:v>
                </c:pt>
                <c:pt idx="211">
                  <c:v>-0.21155059298511236</c:v>
                </c:pt>
                <c:pt idx="212">
                  <c:v>-0.1904333838001514</c:v>
                </c:pt>
                <c:pt idx="213">
                  <c:v>-0.19604781731011867</c:v>
                </c:pt>
                <c:pt idx="214">
                  <c:v>-0.19688367398435536</c:v>
                </c:pt>
                <c:pt idx="215">
                  <c:v>-0.16042139793086052</c:v>
                </c:pt>
                <c:pt idx="216">
                  <c:v>-0.15876545546303311</c:v>
                </c:pt>
                <c:pt idx="217">
                  <c:v>-0.12564660610648515</c:v>
                </c:pt>
                <c:pt idx="218">
                  <c:v>-9.7874085288922608E-2</c:v>
                </c:pt>
                <c:pt idx="219">
                  <c:v>-0.10948145344436044</c:v>
                </c:pt>
                <c:pt idx="220">
                  <c:v>-9.5950037850113579E-2</c:v>
                </c:pt>
                <c:pt idx="221">
                  <c:v>-0.15400264950794862</c:v>
                </c:pt>
                <c:pt idx="222">
                  <c:v>-0.2255866767600303</c:v>
                </c:pt>
                <c:pt idx="223">
                  <c:v>-0.21063588190764582</c:v>
                </c:pt>
                <c:pt idx="224">
                  <c:v>-0.20264004542013636</c:v>
                </c:pt>
                <c:pt idx="225">
                  <c:v>-0.22429346454706034</c:v>
                </c:pt>
                <c:pt idx="226">
                  <c:v>-0.20801791572041384</c:v>
                </c:pt>
                <c:pt idx="227">
                  <c:v>-0.21472053999495333</c:v>
                </c:pt>
                <c:pt idx="228">
                  <c:v>-0.22200668685339398</c:v>
                </c:pt>
                <c:pt idx="229">
                  <c:v>-0.21415278829169826</c:v>
                </c:pt>
                <c:pt idx="230">
                  <c:v>-0.21492556144335107</c:v>
                </c:pt>
                <c:pt idx="231">
                  <c:v>-0.16769177390865508</c:v>
                </c:pt>
                <c:pt idx="232">
                  <c:v>-0.14603835478173099</c:v>
                </c:pt>
                <c:pt idx="233">
                  <c:v>-0.14083396416855931</c:v>
                </c:pt>
                <c:pt idx="234">
                  <c:v>-0.14073933888468337</c:v>
                </c:pt>
                <c:pt idx="235">
                  <c:v>-0.10850365884431001</c:v>
                </c:pt>
                <c:pt idx="236">
                  <c:v>-9.498801413070912E-2</c:v>
                </c:pt>
                <c:pt idx="237">
                  <c:v>-0.13611847085541262</c:v>
                </c:pt>
                <c:pt idx="238">
                  <c:v>-0.11467007317688627</c:v>
                </c:pt>
                <c:pt idx="239">
                  <c:v>-0.10891370174110526</c:v>
                </c:pt>
                <c:pt idx="240">
                  <c:v>-0.13652851375220798</c:v>
                </c:pt>
                <c:pt idx="241">
                  <c:v>-0.12342291193540245</c:v>
                </c:pt>
                <c:pt idx="242">
                  <c:v>-0.11440196820590476</c:v>
                </c:pt>
                <c:pt idx="243">
                  <c:v>-0.11735112288670213</c:v>
                </c:pt>
                <c:pt idx="244">
                  <c:v>-0.11039616452182688</c:v>
                </c:pt>
                <c:pt idx="245">
                  <c:v>-0.12722369417108259</c:v>
                </c:pt>
                <c:pt idx="246">
                  <c:v>-0.10702119606358818</c:v>
                </c:pt>
                <c:pt idx="247">
                  <c:v>-0.12304441079989925</c:v>
                </c:pt>
                <c:pt idx="248">
                  <c:v>-0.12600933636134259</c:v>
                </c:pt>
                <c:pt idx="249">
                  <c:v>-0.15740915972747926</c:v>
                </c:pt>
                <c:pt idx="250">
                  <c:v>-0.13512490537471622</c:v>
                </c:pt>
                <c:pt idx="251">
                  <c:v>-0.13641811758768607</c:v>
                </c:pt>
                <c:pt idx="252">
                  <c:v>-0.15636828160484495</c:v>
                </c:pt>
                <c:pt idx="253">
                  <c:v>-0.13911493817814791</c:v>
                </c:pt>
                <c:pt idx="254">
                  <c:v>-0.12260282614181173</c:v>
                </c:pt>
                <c:pt idx="255">
                  <c:v>-0.11539553368660116</c:v>
                </c:pt>
                <c:pt idx="256">
                  <c:v>-9.8914963411556922E-2</c:v>
                </c:pt>
                <c:pt idx="257">
                  <c:v>-0.14756813020439064</c:v>
                </c:pt>
                <c:pt idx="258">
                  <c:v>-0.16411178400201876</c:v>
                </c:pt>
                <c:pt idx="259">
                  <c:v>-0.22314219025990423</c:v>
                </c:pt>
                <c:pt idx="260">
                  <c:v>-0.20989465051728495</c:v>
                </c:pt>
                <c:pt idx="261">
                  <c:v>-0.20249810749432251</c:v>
                </c:pt>
                <c:pt idx="262">
                  <c:v>-0.21929409538228628</c:v>
                </c:pt>
                <c:pt idx="263">
                  <c:v>-0.25883169316174626</c:v>
                </c:pt>
                <c:pt idx="264">
                  <c:v>-0.23287282361847084</c:v>
                </c:pt>
                <c:pt idx="265">
                  <c:v>-0.25665531163260169</c:v>
                </c:pt>
                <c:pt idx="266">
                  <c:v>-0.28095823870804948</c:v>
                </c:pt>
                <c:pt idx="267">
                  <c:v>-0.34541382790815045</c:v>
                </c:pt>
                <c:pt idx="268">
                  <c:v>-0.33421650264950797</c:v>
                </c:pt>
                <c:pt idx="269">
                  <c:v>-0.30070338127681051</c:v>
                </c:pt>
                <c:pt idx="270">
                  <c:v>-0.27725208175624538</c:v>
                </c:pt>
                <c:pt idx="271">
                  <c:v>-0.25635566490032813</c:v>
                </c:pt>
                <c:pt idx="272">
                  <c:v>-0.26714294726217513</c:v>
                </c:pt>
                <c:pt idx="273">
                  <c:v>-0.24388089830936166</c:v>
                </c:pt>
                <c:pt idx="274">
                  <c:v>-0.26848347211708312</c:v>
                </c:pt>
                <c:pt idx="275">
                  <c:v>-0.23370868029270764</c:v>
                </c:pt>
                <c:pt idx="276">
                  <c:v>-0.23761985869290947</c:v>
                </c:pt>
                <c:pt idx="277">
                  <c:v>-0.2293559172344185</c:v>
                </c:pt>
                <c:pt idx="278">
                  <c:v>-0.25913133989401971</c:v>
                </c:pt>
                <c:pt idx="279">
                  <c:v>-0.23536462276053505</c:v>
                </c:pt>
                <c:pt idx="280">
                  <c:v>-0.23533308099924299</c:v>
                </c:pt>
                <c:pt idx="281">
                  <c:v>-0.22809424678274037</c:v>
                </c:pt>
                <c:pt idx="282">
                  <c:v>-0.21074627807216761</c:v>
                </c:pt>
                <c:pt idx="283">
                  <c:v>-0.21208680292707549</c:v>
                </c:pt>
                <c:pt idx="284">
                  <c:v>-0.21637648246278074</c:v>
                </c:pt>
                <c:pt idx="285">
                  <c:v>-0.22648561695685088</c:v>
                </c:pt>
                <c:pt idx="286">
                  <c:v>-0.25167171334847338</c:v>
                </c:pt>
                <c:pt idx="287">
                  <c:v>-0.25615064345193039</c:v>
                </c:pt>
                <c:pt idx="288">
                  <c:v>-0.26156005551349992</c:v>
                </c:pt>
                <c:pt idx="289">
                  <c:v>-0.28680923542770631</c:v>
                </c:pt>
                <c:pt idx="290">
                  <c:v>-0.31854024728740848</c:v>
                </c:pt>
                <c:pt idx="291">
                  <c:v>-0.29079926823113811</c:v>
                </c:pt>
                <c:pt idx="292">
                  <c:v>-0.29428463285389861</c:v>
                </c:pt>
                <c:pt idx="293">
                  <c:v>-0.25786966944234169</c:v>
                </c:pt>
                <c:pt idx="294">
                  <c:v>-0.25674993691647752</c:v>
                </c:pt>
                <c:pt idx="295">
                  <c:v>-0.26375220792329057</c:v>
                </c:pt>
                <c:pt idx="296">
                  <c:v>-0.2479024728740854</c:v>
                </c:pt>
                <c:pt idx="297">
                  <c:v>-0.2682153671461015</c:v>
                </c:pt>
                <c:pt idx="298">
                  <c:v>-0.27223694171082524</c:v>
                </c:pt>
                <c:pt idx="299">
                  <c:v>-0.29685528639919256</c:v>
                </c:pt>
                <c:pt idx="300">
                  <c:v>-0.3124526873580622</c:v>
                </c:pt>
                <c:pt idx="301">
                  <c:v>-0.33915278829169826</c:v>
                </c:pt>
                <c:pt idx="302">
                  <c:v>-0.35232147363108757</c:v>
                </c:pt>
                <c:pt idx="303">
                  <c:v>-0.33432689881402988</c:v>
                </c:pt>
                <c:pt idx="304">
                  <c:v>-0.31674236689376734</c:v>
                </c:pt>
                <c:pt idx="305">
                  <c:v>-0.29376419379258145</c:v>
                </c:pt>
                <c:pt idx="306">
                  <c:v>-0.2867619227857684</c:v>
                </c:pt>
                <c:pt idx="307">
                  <c:v>-0.30537156194801929</c:v>
                </c:pt>
                <c:pt idx="308">
                  <c:v>-0.33169316174615193</c:v>
                </c:pt>
                <c:pt idx="309">
                  <c:v>-0.32494322482967453</c:v>
                </c:pt>
                <c:pt idx="310">
                  <c:v>-0.33656636386575833</c:v>
                </c:pt>
                <c:pt idx="311">
                  <c:v>-0.30786336109008328</c:v>
                </c:pt>
                <c:pt idx="312">
                  <c:v>-0.31024476406762558</c:v>
                </c:pt>
                <c:pt idx="313">
                  <c:v>-0.29641370174110526</c:v>
                </c:pt>
                <c:pt idx="314">
                  <c:v>-0.30540310370931112</c:v>
                </c:pt>
                <c:pt idx="315">
                  <c:v>-0.30899886449659353</c:v>
                </c:pt>
                <c:pt idx="316">
                  <c:v>-0.31969152157456471</c:v>
                </c:pt>
                <c:pt idx="317">
                  <c:v>-0.30937736563209695</c:v>
                </c:pt>
                <c:pt idx="318">
                  <c:v>-0.30395218268988144</c:v>
                </c:pt>
                <c:pt idx="319">
                  <c:v>-0.28639919253091095</c:v>
                </c:pt>
                <c:pt idx="320">
                  <c:v>-0.28248801413070912</c:v>
                </c:pt>
                <c:pt idx="321">
                  <c:v>-0.27647930860459258</c:v>
                </c:pt>
                <c:pt idx="322">
                  <c:v>-0.28420704012112041</c:v>
                </c:pt>
                <c:pt idx="323">
                  <c:v>-0.29225018925056778</c:v>
                </c:pt>
                <c:pt idx="324">
                  <c:v>-0.32230948776179669</c:v>
                </c:pt>
                <c:pt idx="325">
                  <c:v>-0.36056964420893267</c:v>
                </c:pt>
                <c:pt idx="326">
                  <c:v>-0.3556806712086803</c:v>
                </c:pt>
                <c:pt idx="327">
                  <c:v>-0.35367776936664153</c:v>
                </c:pt>
                <c:pt idx="328">
                  <c:v>-0.35981264193792584</c:v>
                </c:pt>
                <c:pt idx="329">
                  <c:v>-0.45822293716881157</c:v>
                </c:pt>
                <c:pt idx="330">
                  <c:v>-0.49747665909664396</c:v>
                </c:pt>
                <c:pt idx="331">
                  <c:v>-0.6194644208932627</c:v>
                </c:pt>
                <c:pt idx="332">
                  <c:v>-0.69415531163260158</c:v>
                </c:pt>
                <c:pt idx="333">
                  <c:v>-0.656888720666162</c:v>
                </c:pt>
                <c:pt idx="334">
                  <c:v>-0.63843679031037093</c:v>
                </c:pt>
                <c:pt idx="335">
                  <c:v>-0.59054062578854405</c:v>
                </c:pt>
                <c:pt idx="336">
                  <c:v>-0.58968899823366139</c:v>
                </c:pt>
                <c:pt idx="337">
                  <c:v>-0.58284443603330816</c:v>
                </c:pt>
                <c:pt idx="338">
                  <c:v>-0.57059046177138539</c:v>
                </c:pt>
                <c:pt idx="339">
                  <c:v>-0.5351532929598789</c:v>
                </c:pt>
                <c:pt idx="340">
                  <c:v>-0.57054314912944748</c:v>
                </c:pt>
                <c:pt idx="341">
                  <c:v>-0.54431617461519055</c:v>
                </c:pt>
                <c:pt idx="342">
                  <c:v>-0.54013689124400721</c:v>
                </c:pt>
                <c:pt idx="343">
                  <c:v>-0.4692783245016402</c:v>
                </c:pt>
                <c:pt idx="344">
                  <c:v>-0.52800908402725222</c:v>
                </c:pt>
                <c:pt idx="345">
                  <c:v>-0.532551097653293</c:v>
                </c:pt>
                <c:pt idx="346">
                  <c:v>-0.56267347968710579</c:v>
                </c:pt>
                <c:pt idx="347">
                  <c:v>-0.55295861720918504</c:v>
                </c:pt>
                <c:pt idx="348">
                  <c:v>-0.57368155437799651</c:v>
                </c:pt>
                <c:pt idx="349">
                  <c:v>-0.56114370426444626</c:v>
                </c:pt>
                <c:pt idx="350">
                  <c:v>-0.55193350996719659</c:v>
                </c:pt>
                <c:pt idx="351">
                  <c:v>-0.57089010850365884</c:v>
                </c:pt>
                <c:pt idx="352">
                  <c:v>-0.55748485995457986</c:v>
                </c:pt>
                <c:pt idx="353">
                  <c:v>-0.54739149634115569</c:v>
                </c:pt>
                <c:pt idx="354">
                  <c:v>-0.57505362099419632</c:v>
                </c:pt>
                <c:pt idx="355">
                  <c:v>-0.57027504415846586</c:v>
                </c:pt>
                <c:pt idx="356">
                  <c:v>-0.58945243502397182</c:v>
                </c:pt>
                <c:pt idx="357">
                  <c:v>-0.61585288922533432</c:v>
                </c:pt>
                <c:pt idx="358">
                  <c:v>-0.60470287660862987</c:v>
                </c:pt>
                <c:pt idx="359">
                  <c:v>-0.63870489528135255</c:v>
                </c:pt>
                <c:pt idx="360">
                  <c:v>-0.64901905122382031</c:v>
                </c:pt>
                <c:pt idx="361">
                  <c:v>-0.63146606106484993</c:v>
                </c:pt>
                <c:pt idx="362">
                  <c:v>-0.63919379258137776</c:v>
                </c:pt>
                <c:pt idx="363">
                  <c:v>-0.63733282866515273</c:v>
                </c:pt>
                <c:pt idx="364">
                  <c:v>-0.65805576583396419</c:v>
                </c:pt>
                <c:pt idx="365">
                  <c:v>-0.6552800908402725</c:v>
                </c:pt>
                <c:pt idx="366">
                  <c:v>-0.59855223315669948</c:v>
                </c:pt>
                <c:pt idx="367">
                  <c:v>-0.57853898561695694</c:v>
                </c:pt>
                <c:pt idx="368">
                  <c:v>-0.54266023214736314</c:v>
                </c:pt>
                <c:pt idx="369">
                  <c:v>-0.52223694171082524</c:v>
                </c:pt>
                <c:pt idx="370">
                  <c:v>-0.51681175876860963</c:v>
                </c:pt>
                <c:pt idx="371">
                  <c:v>-0.53739275801160735</c:v>
                </c:pt>
                <c:pt idx="372">
                  <c:v>-0.54677643199596271</c:v>
                </c:pt>
                <c:pt idx="373">
                  <c:v>-0.54873202119606357</c:v>
                </c:pt>
                <c:pt idx="374">
                  <c:v>-0.50671839515518546</c:v>
                </c:pt>
                <c:pt idx="375">
                  <c:v>-0.49126293212212979</c:v>
                </c:pt>
                <c:pt idx="376">
                  <c:v>-0.49921145596770122</c:v>
                </c:pt>
                <c:pt idx="377">
                  <c:v>-0.53236184708554135</c:v>
                </c:pt>
                <c:pt idx="378">
                  <c:v>-0.49359702245773407</c:v>
                </c:pt>
                <c:pt idx="379">
                  <c:v>-0.47169126924047444</c:v>
                </c:pt>
                <c:pt idx="380">
                  <c:v>-0.45554188745899571</c:v>
                </c:pt>
                <c:pt idx="381">
                  <c:v>-0.43194865001261673</c:v>
                </c:pt>
                <c:pt idx="382">
                  <c:v>-0.37462149886449658</c:v>
                </c:pt>
                <c:pt idx="383">
                  <c:v>-0.36787156194801918</c:v>
                </c:pt>
                <c:pt idx="384">
                  <c:v>-0.41630393641180929</c:v>
                </c:pt>
                <c:pt idx="385">
                  <c:v>-0.39884557153671463</c:v>
                </c:pt>
                <c:pt idx="386">
                  <c:v>-0.40116389099167304</c:v>
                </c:pt>
                <c:pt idx="387">
                  <c:v>-0.42538796366389098</c:v>
                </c:pt>
                <c:pt idx="388">
                  <c:v>-0.42406320968962907</c:v>
                </c:pt>
                <c:pt idx="389">
                  <c:v>-0.43423542770628309</c:v>
                </c:pt>
                <c:pt idx="390">
                  <c:v>-0.41395407519555893</c:v>
                </c:pt>
                <c:pt idx="391">
                  <c:v>-0.36183131466061069</c:v>
                </c:pt>
                <c:pt idx="392">
                  <c:v>-0.36713033055765831</c:v>
                </c:pt>
                <c:pt idx="393">
                  <c:v>-0.3850775927327782</c:v>
                </c:pt>
                <c:pt idx="394">
                  <c:v>-0.38521953065859205</c:v>
                </c:pt>
                <c:pt idx="395">
                  <c:v>-0.3441679283371184</c:v>
                </c:pt>
                <c:pt idx="396">
                  <c:v>-0.34792139793086041</c:v>
                </c:pt>
                <c:pt idx="397">
                  <c:v>-0.38190764572293723</c:v>
                </c:pt>
                <c:pt idx="398">
                  <c:v>-0.34072987635629581</c:v>
                </c:pt>
                <c:pt idx="399">
                  <c:v>-0.34784254352763067</c:v>
                </c:pt>
                <c:pt idx="400">
                  <c:v>-0.37007948523845569</c:v>
                </c:pt>
                <c:pt idx="401">
                  <c:v>-0.41868533938935149</c:v>
                </c:pt>
                <c:pt idx="402">
                  <c:v>-0.42094057532172602</c:v>
                </c:pt>
                <c:pt idx="403">
                  <c:v>-0.4117619227857684</c:v>
                </c:pt>
                <c:pt idx="404">
                  <c:v>-0.40986941710825142</c:v>
                </c:pt>
                <c:pt idx="405">
                  <c:v>-0.41467953570527383</c:v>
                </c:pt>
                <c:pt idx="406">
                  <c:v>-0.45756056018168056</c:v>
                </c:pt>
                <c:pt idx="407">
                  <c:v>-0.41772331566994703</c:v>
                </c:pt>
                <c:pt idx="408">
                  <c:v>-0.42612919505425184</c:v>
                </c:pt>
                <c:pt idx="409">
                  <c:v>-0.43636449659348986</c:v>
                </c:pt>
                <c:pt idx="410">
                  <c:v>-0.41769177390865508</c:v>
                </c:pt>
                <c:pt idx="411">
                  <c:v>-0.39034506686853399</c:v>
                </c:pt>
                <c:pt idx="412">
                  <c:v>-0.35506560686348732</c:v>
                </c:pt>
                <c:pt idx="413">
                  <c:v>-0.32270375977794608</c:v>
                </c:pt>
                <c:pt idx="414">
                  <c:v>-0.31484986121625036</c:v>
                </c:pt>
                <c:pt idx="415">
                  <c:v>-0.30677517032551105</c:v>
                </c:pt>
                <c:pt idx="416">
                  <c:v>-0.31208995710320464</c:v>
                </c:pt>
                <c:pt idx="417">
                  <c:v>-0.3029270754478931</c:v>
                </c:pt>
                <c:pt idx="418">
                  <c:v>-0.31459752712591471</c:v>
                </c:pt>
                <c:pt idx="419">
                  <c:v>-0.35038165531163257</c:v>
                </c:pt>
                <c:pt idx="420">
                  <c:v>-0.33961014383043153</c:v>
                </c:pt>
                <c:pt idx="421">
                  <c:v>-0.34506686853393898</c:v>
                </c:pt>
                <c:pt idx="422">
                  <c:v>-0.32089010850365884</c:v>
                </c:pt>
                <c:pt idx="423">
                  <c:v>-0.35547564976028267</c:v>
                </c:pt>
                <c:pt idx="424">
                  <c:v>-0.34019366641433257</c:v>
                </c:pt>
                <c:pt idx="425">
                  <c:v>-0.33330179157204143</c:v>
                </c:pt>
                <c:pt idx="426">
                  <c:v>-0.26258516275548838</c:v>
                </c:pt>
                <c:pt idx="427">
                  <c:v>-0.22410421397930858</c:v>
                </c:pt>
                <c:pt idx="428">
                  <c:v>-0.24802863991925317</c:v>
                </c:pt>
                <c:pt idx="429">
                  <c:v>-0.21032046429472617</c:v>
                </c:pt>
                <c:pt idx="430">
                  <c:v>-0.17131907645722932</c:v>
                </c:pt>
                <c:pt idx="431">
                  <c:v>-0.15680986626293225</c:v>
                </c:pt>
                <c:pt idx="432">
                  <c:v>-0.18808352258390104</c:v>
                </c:pt>
                <c:pt idx="433">
                  <c:v>-0.1774854907898058</c:v>
                </c:pt>
                <c:pt idx="434">
                  <c:v>-0.10135944991168322</c:v>
                </c:pt>
                <c:pt idx="435">
                  <c:v>-8.4421524097905709E-2</c:v>
                </c:pt>
                <c:pt idx="436">
                  <c:v>-0.11717764319959634</c:v>
                </c:pt>
                <c:pt idx="437">
                  <c:v>-5.1633863234923028E-2</c:v>
                </c:pt>
                <c:pt idx="438">
                  <c:v>-7.4422785768357369E-2</c:v>
                </c:pt>
                <c:pt idx="439">
                  <c:v>-4.4741988392631882E-2</c:v>
                </c:pt>
                <c:pt idx="440">
                  <c:v>-4.1713979308604654E-2</c:v>
                </c:pt>
                <c:pt idx="441">
                  <c:v>-8.5446631339894163E-2</c:v>
                </c:pt>
                <c:pt idx="442">
                  <c:v>-9.7259020943729624E-2</c:v>
                </c:pt>
                <c:pt idx="443">
                  <c:v>-5.4567247035075539E-3</c:v>
                </c:pt>
                <c:pt idx="444">
                  <c:v>-3.442783245016412E-2</c:v>
                </c:pt>
                <c:pt idx="445">
                  <c:v>-2.3892884178652651E-2</c:v>
                </c:pt>
                <c:pt idx="446">
                  <c:v>5.5119227857683528E-2</c:v>
                </c:pt>
                <c:pt idx="447">
                  <c:v>6.7578223568003803E-2</c:v>
                </c:pt>
                <c:pt idx="448">
                  <c:v>5.7784506686853421E-2</c:v>
                </c:pt>
                <c:pt idx="449">
                  <c:v>-0.12369101690638418</c:v>
                </c:pt>
                <c:pt idx="450">
                  <c:v>-0.13730128690386079</c:v>
                </c:pt>
                <c:pt idx="451">
                  <c:v>-0.12613550340651025</c:v>
                </c:pt>
                <c:pt idx="452">
                  <c:v>-0.14700037850113556</c:v>
                </c:pt>
                <c:pt idx="453">
                  <c:v>-0.17318004037345458</c:v>
                </c:pt>
                <c:pt idx="454">
                  <c:v>-0.14395659853646237</c:v>
                </c:pt>
                <c:pt idx="455">
                  <c:v>-5.5734292202876623E-2</c:v>
                </c:pt>
                <c:pt idx="456">
                  <c:v>-0.12017411052233162</c:v>
                </c:pt>
                <c:pt idx="457">
                  <c:v>-5.7374463790058061E-2</c:v>
                </c:pt>
                <c:pt idx="458">
                  <c:v>-4.8069644208932671E-2</c:v>
                </c:pt>
                <c:pt idx="459">
                  <c:v>-7.412313903608414E-3</c:v>
                </c:pt>
                <c:pt idx="460">
                  <c:v>-4.0278829169820951E-2</c:v>
                </c:pt>
                <c:pt idx="461">
                  <c:v>-3.4522457734039835E-2</c:v>
                </c:pt>
                <c:pt idx="462">
                  <c:v>-5.9629699722432594E-2</c:v>
                </c:pt>
                <c:pt idx="463">
                  <c:v>-0.14425624526873582</c:v>
                </c:pt>
                <c:pt idx="464">
                  <c:v>-0.12856421902599058</c:v>
                </c:pt>
                <c:pt idx="465">
                  <c:v>-7.7908150391118314E-3</c:v>
                </c:pt>
                <c:pt idx="466">
                  <c:v>-2.6179661872319016E-2</c:v>
                </c:pt>
                <c:pt idx="467">
                  <c:v>5.2469719909159718E-2</c:v>
                </c:pt>
                <c:pt idx="468">
                  <c:v>8.1425056775170424E-2</c:v>
                </c:pt>
                <c:pt idx="469">
                  <c:v>0.10710005046681803</c:v>
                </c:pt>
                <c:pt idx="470">
                  <c:v>0.12922659601312136</c:v>
                </c:pt>
                <c:pt idx="471">
                  <c:v>0.10268420388594501</c:v>
                </c:pt>
                <c:pt idx="472">
                  <c:v>0.10553873328286634</c:v>
                </c:pt>
                <c:pt idx="473">
                  <c:v>8.3774917991420672E-2</c:v>
                </c:pt>
                <c:pt idx="474">
                  <c:v>-7.2703759777946741E-3</c:v>
                </c:pt>
                <c:pt idx="475">
                  <c:v>9.7779460005045227E-3</c:v>
                </c:pt>
                <c:pt idx="476">
                  <c:v>5.4015266212465329E-2</c:v>
                </c:pt>
                <c:pt idx="477">
                  <c:v>6.0339389351501405E-2</c:v>
                </c:pt>
                <c:pt idx="478">
                  <c:v>6.0355160232147265E-2</c:v>
                </c:pt>
                <c:pt idx="479">
                  <c:v>8.8521953065859194E-2</c:v>
                </c:pt>
                <c:pt idx="480">
                  <c:v>9.6580873075952534E-2</c:v>
                </c:pt>
                <c:pt idx="481">
                  <c:v>0.10487635629573555</c:v>
                </c:pt>
                <c:pt idx="482">
                  <c:v>3.9222180166540443E-2</c:v>
                </c:pt>
                <c:pt idx="483">
                  <c:v>9.1502649507948508E-2</c:v>
                </c:pt>
                <c:pt idx="484">
                  <c:v>1.5960131213726969E-2</c:v>
                </c:pt>
                <c:pt idx="485">
                  <c:v>1.7726469846076176E-2</c:v>
                </c:pt>
                <c:pt idx="486">
                  <c:v>4.765960131213709E-2</c:v>
                </c:pt>
                <c:pt idx="487">
                  <c:v>-8.3585667423670129E-3</c:v>
                </c:pt>
                <c:pt idx="488">
                  <c:v>-7.7971233913701865E-2</c:v>
                </c:pt>
                <c:pt idx="489">
                  <c:v>-5.6854024728740904E-2</c:v>
                </c:pt>
                <c:pt idx="490">
                  <c:v>1.293212212969852E-3</c:v>
                </c:pt>
                <c:pt idx="491">
                  <c:v>3.1636386575826236E-2</c:v>
                </c:pt>
                <c:pt idx="492">
                  <c:v>5.7153671461014355E-2</c:v>
                </c:pt>
                <c:pt idx="493">
                  <c:v>3.0311632601564442E-2</c:v>
                </c:pt>
                <c:pt idx="494">
                  <c:v>3.3308099924299839E-2</c:v>
                </c:pt>
                <c:pt idx="495">
                  <c:v>-2.6700100933636284E-2</c:v>
                </c:pt>
                <c:pt idx="496">
                  <c:v>-4.7691143073429254E-2</c:v>
                </c:pt>
                <c:pt idx="497">
                  <c:v>-3.9080242240726815E-2</c:v>
                </c:pt>
                <c:pt idx="498">
                  <c:v>-4.9788670199343965E-2</c:v>
                </c:pt>
                <c:pt idx="499">
                  <c:v>-3.7329674489023579E-2</c:v>
                </c:pt>
                <c:pt idx="500">
                  <c:v>-2.0912187736563226E-2</c:v>
                </c:pt>
                <c:pt idx="501">
                  <c:v>-2.7835604340146536E-2</c:v>
                </c:pt>
                <c:pt idx="502">
                  <c:v>-6.1364496593489859E-2</c:v>
                </c:pt>
                <c:pt idx="503">
                  <c:v>-1.6590966439566146E-2</c:v>
                </c:pt>
                <c:pt idx="504">
                  <c:v>-2.3151652788291788E-2</c:v>
                </c:pt>
                <c:pt idx="505">
                  <c:v>-1.7442593994448696E-2</c:v>
                </c:pt>
                <c:pt idx="506">
                  <c:v>1.7221801665404879E-2</c:v>
                </c:pt>
                <c:pt idx="507">
                  <c:v>3.4348978046934153E-2</c:v>
                </c:pt>
                <c:pt idx="508">
                  <c:v>4.6208680292707527E-2</c:v>
                </c:pt>
                <c:pt idx="509">
                  <c:v>8.3207166288165491E-2</c:v>
                </c:pt>
                <c:pt idx="510">
                  <c:v>6.5212591471107695E-2</c:v>
                </c:pt>
                <c:pt idx="511">
                  <c:v>5.0624526873580544E-2</c:v>
                </c:pt>
                <c:pt idx="512">
                  <c:v>9.0382916982084227E-2</c:v>
                </c:pt>
                <c:pt idx="513">
                  <c:v>0.10549142064092853</c:v>
                </c:pt>
                <c:pt idx="514">
                  <c:v>0.10686348725712835</c:v>
                </c:pt>
                <c:pt idx="515">
                  <c:v>8.1062326520312755E-2</c:v>
                </c:pt>
                <c:pt idx="516">
                  <c:v>9.4798763562957467E-2</c:v>
                </c:pt>
                <c:pt idx="517">
                  <c:v>3.5815669947009798E-2</c:v>
                </c:pt>
                <c:pt idx="518">
                  <c:v>8.2576331062326647E-2</c:v>
                </c:pt>
                <c:pt idx="519">
                  <c:v>8.9925561443350954E-2</c:v>
                </c:pt>
                <c:pt idx="520">
                  <c:v>2.2867776936664086E-2</c:v>
                </c:pt>
                <c:pt idx="521">
                  <c:v>4.5987887963663932E-2</c:v>
                </c:pt>
              </c:numCache>
            </c:numRef>
          </c:val>
          <c:smooth val="0"/>
          <c:extLst>
            <c:ext xmlns:c16="http://schemas.microsoft.com/office/drawing/2014/chart" uri="{C3380CC4-5D6E-409C-BE32-E72D297353CC}">
              <c16:uniqueId val="{00000000-EF21-684C-8F47-470F32FBF1FC}"/>
            </c:ext>
          </c:extLst>
        </c:ser>
        <c:ser>
          <c:idx val="1"/>
          <c:order val="1"/>
          <c:tx>
            <c:strRef>
              <c:f>Hoja1!$C$1</c:f>
              <c:strCache>
                <c:ptCount val="1"/>
                <c:pt idx="0">
                  <c:v>S&amp;P 500</c:v>
                </c:pt>
              </c:strCache>
            </c:strRef>
          </c:tx>
          <c:spPr>
            <a:ln w="28575" cap="rnd">
              <a:solidFill>
                <a:srgbClr val="EC5E06"/>
              </a:solidFill>
              <a:round/>
            </a:ln>
            <a:effectLst/>
          </c:spPr>
          <c:marker>
            <c:symbol val="none"/>
          </c:marker>
          <c:dLbls>
            <c:dLbl>
              <c:idx val="521"/>
              <c:layout>
                <c:manualLayout>
                  <c:x val="-3.9103327706383535E-2"/>
                  <c:y val="-9.82384378386615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86-9244-AC77-174EA46E05F1}"/>
                </c:ext>
              </c:extLst>
            </c:dLbl>
            <c:spPr>
              <a:solidFill>
                <a:srgbClr val="EC5E06">
                  <a:alpha val="39000"/>
                </a:srgbClr>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523</c:f>
              <c:numCache>
                <c:formatCode>[$-409]mmm\-yy;@</c:formatCode>
                <c:ptCount val="522"/>
                <c:pt idx="0">
                  <c:v>41586</c:v>
                </c:pt>
                <c:pt idx="1">
                  <c:v>41593</c:v>
                </c:pt>
                <c:pt idx="2">
                  <c:v>41600</c:v>
                </c:pt>
                <c:pt idx="3">
                  <c:v>41607</c:v>
                </c:pt>
                <c:pt idx="4">
                  <c:v>41614</c:v>
                </c:pt>
                <c:pt idx="5">
                  <c:v>41621</c:v>
                </c:pt>
                <c:pt idx="6">
                  <c:v>41628</c:v>
                </c:pt>
                <c:pt idx="7">
                  <c:v>41635</c:v>
                </c:pt>
                <c:pt idx="8">
                  <c:v>41642</c:v>
                </c:pt>
                <c:pt idx="9">
                  <c:v>41649</c:v>
                </c:pt>
                <c:pt idx="10">
                  <c:v>41656</c:v>
                </c:pt>
                <c:pt idx="11">
                  <c:v>41663</c:v>
                </c:pt>
                <c:pt idx="12">
                  <c:v>41670</c:v>
                </c:pt>
                <c:pt idx="13">
                  <c:v>41677</c:v>
                </c:pt>
                <c:pt idx="14">
                  <c:v>41684</c:v>
                </c:pt>
                <c:pt idx="15">
                  <c:v>41691</c:v>
                </c:pt>
                <c:pt idx="16">
                  <c:v>41698</c:v>
                </c:pt>
                <c:pt idx="17">
                  <c:v>41705</c:v>
                </c:pt>
                <c:pt idx="18">
                  <c:v>41712</c:v>
                </c:pt>
                <c:pt idx="19">
                  <c:v>41719</c:v>
                </c:pt>
                <c:pt idx="20">
                  <c:v>41726</c:v>
                </c:pt>
                <c:pt idx="21">
                  <c:v>41733</c:v>
                </c:pt>
                <c:pt idx="22">
                  <c:v>41740</c:v>
                </c:pt>
                <c:pt idx="23">
                  <c:v>41747</c:v>
                </c:pt>
                <c:pt idx="24">
                  <c:v>41754</c:v>
                </c:pt>
                <c:pt idx="25">
                  <c:v>41761</c:v>
                </c:pt>
                <c:pt idx="26">
                  <c:v>41768</c:v>
                </c:pt>
                <c:pt idx="27">
                  <c:v>41775</c:v>
                </c:pt>
                <c:pt idx="28">
                  <c:v>41782</c:v>
                </c:pt>
                <c:pt idx="29">
                  <c:v>41789</c:v>
                </c:pt>
                <c:pt idx="30">
                  <c:v>41796</c:v>
                </c:pt>
                <c:pt idx="31">
                  <c:v>41803</c:v>
                </c:pt>
                <c:pt idx="32">
                  <c:v>41810</c:v>
                </c:pt>
                <c:pt idx="33">
                  <c:v>41817</c:v>
                </c:pt>
                <c:pt idx="34">
                  <c:v>41824</c:v>
                </c:pt>
                <c:pt idx="35">
                  <c:v>41831</c:v>
                </c:pt>
                <c:pt idx="36">
                  <c:v>41838</c:v>
                </c:pt>
                <c:pt idx="37">
                  <c:v>41845</c:v>
                </c:pt>
                <c:pt idx="38">
                  <c:v>41852</c:v>
                </c:pt>
                <c:pt idx="39">
                  <c:v>41859</c:v>
                </c:pt>
                <c:pt idx="40">
                  <c:v>41866</c:v>
                </c:pt>
                <c:pt idx="41">
                  <c:v>41873</c:v>
                </c:pt>
                <c:pt idx="42">
                  <c:v>41880</c:v>
                </c:pt>
                <c:pt idx="43">
                  <c:v>41887</c:v>
                </c:pt>
                <c:pt idx="44">
                  <c:v>41894</c:v>
                </c:pt>
                <c:pt idx="45">
                  <c:v>41901</c:v>
                </c:pt>
                <c:pt idx="46">
                  <c:v>41908</c:v>
                </c:pt>
                <c:pt idx="47">
                  <c:v>41915</c:v>
                </c:pt>
                <c:pt idx="48">
                  <c:v>41922</c:v>
                </c:pt>
                <c:pt idx="49">
                  <c:v>41929</c:v>
                </c:pt>
                <c:pt idx="50">
                  <c:v>41936</c:v>
                </c:pt>
                <c:pt idx="51">
                  <c:v>41943</c:v>
                </c:pt>
                <c:pt idx="52">
                  <c:v>41950</c:v>
                </c:pt>
                <c:pt idx="53">
                  <c:v>41957</c:v>
                </c:pt>
                <c:pt idx="54">
                  <c:v>41964</c:v>
                </c:pt>
                <c:pt idx="55">
                  <c:v>41971</c:v>
                </c:pt>
                <c:pt idx="56">
                  <c:v>41978</c:v>
                </c:pt>
                <c:pt idx="57">
                  <c:v>41985</c:v>
                </c:pt>
                <c:pt idx="58">
                  <c:v>41992</c:v>
                </c:pt>
                <c:pt idx="59">
                  <c:v>41999</c:v>
                </c:pt>
                <c:pt idx="60">
                  <c:v>42006</c:v>
                </c:pt>
                <c:pt idx="61">
                  <c:v>42013</c:v>
                </c:pt>
                <c:pt idx="62">
                  <c:v>42020</c:v>
                </c:pt>
                <c:pt idx="63">
                  <c:v>42027</c:v>
                </c:pt>
                <c:pt idx="64">
                  <c:v>42034</c:v>
                </c:pt>
                <c:pt idx="65">
                  <c:v>42041</c:v>
                </c:pt>
                <c:pt idx="66">
                  <c:v>42048</c:v>
                </c:pt>
                <c:pt idx="67">
                  <c:v>42055</c:v>
                </c:pt>
                <c:pt idx="68">
                  <c:v>42062</c:v>
                </c:pt>
                <c:pt idx="69">
                  <c:v>42069</c:v>
                </c:pt>
                <c:pt idx="70">
                  <c:v>42076</c:v>
                </c:pt>
                <c:pt idx="71">
                  <c:v>42083</c:v>
                </c:pt>
                <c:pt idx="72">
                  <c:v>42090</c:v>
                </c:pt>
                <c:pt idx="73">
                  <c:v>42097</c:v>
                </c:pt>
                <c:pt idx="74">
                  <c:v>42104</c:v>
                </c:pt>
                <c:pt idx="75">
                  <c:v>42111</c:v>
                </c:pt>
                <c:pt idx="76">
                  <c:v>42118</c:v>
                </c:pt>
                <c:pt idx="77">
                  <c:v>42125</c:v>
                </c:pt>
                <c:pt idx="78">
                  <c:v>42132</c:v>
                </c:pt>
                <c:pt idx="79">
                  <c:v>42139</c:v>
                </c:pt>
                <c:pt idx="80">
                  <c:v>42146</c:v>
                </c:pt>
                <c:pt idx="81">
                  <c:v>42153</c:v>
                </c:pt>
                <c:pt idx="82">
                  <c:v>42160</c:v>
                </c:pt>
                <c:pt idx="83">
                  <c:v>42167</c:v>
                </c:pt>
                <c:pt idx="84">
                  <c:v>42174</c:v>
                </c:pt>
                <c:pt idx="85">
                  <c:v>42181</c:v>
                </c:pt>
                <c:pt idx="86">
                  <c:v>42188</c:v>
                </c:pt>
                <c:pt idx="87">
                  <c:v>42195</c:v>
                </c:pt>
                <c:pt idx="88">
                  <c:v>42202</c:v>
                </c:pt>
                <c:pt idx="89">
                  <c:v>42209</c:v>
                </c:pt>
                <c:pt idx="90">
                  <c:v>42216</c:v>
                </c:pt>
                <c:pt idx="91">
                  <c:v>42223</c:v>
                </c:pt>
                <c:pt idx="92">
                  <c:v>42230</c:v>
                </c:pt>
                <c:pt idx="93">
                  <c:v>42237</c:v>
                </c:pt>
                <c:pt idx="94">
                  <c:v>42244</c:v>
                </c:pt>
                <c:pt idx="95">
                  <c:v>42251</c:v>
                </c:pt>
                <c:pt idx="96">
                  <c:v>42258</c:v>
                </c:pt>
                <c:pt idx="97">
                  <c:v>42265</c:v>
                </c:pt>
                <c:pt idx="98">
                  <c:v>42272</c:v>
                </c:pt>
                <c:pt idx="99">
                  <c:v>42279</c:v>
                </c:pt>
                <c:pt idx="100">
                  <c:v>42286</c:v>
                </c:pt>
                <c:pt idx="101">
                  <c:v>42293</c:v>
                </c:pt>
                <c:pt idx="102">
                  <c:v>42300</c:v>
                </c:pt>
                <c:pt idx="103">
                  <c:v>42307</c:v>
                </c:pt>
                <c:pt idx="104">
                  <c:v>42314</c:v>
                </c:pt>
                <c:pt idx="105">
                  <c:v>42321</c:v>
                </c:pt>
                <c:pt idx="106">
                  <c:v>42328</c:v>
                </c:pt>
                <c:pt idx="107">
                  <c:v>42335</c:v>
                </c:pt>
                <c:pt idx="108">
                  <c:v>42342</c:v>
                </c:pt>
                <c:pt idx="109">
                  <c:v>42349</c:v>
                </c:pt>
                <c:pt idx="110">
                  <c:v>42356</c:v>
                </c:pt>
                <c:pt idx="111">
                  <c:v>42363</c:v>
                </c:pt>
                <c:pt idx="112">
                  <c:v>42370</c:v>
                </c:pt>
                <c:pt idx="113">
                  <c:v>42377</c:v>
                </c:pt>
                <c:pt idx="114">
                  <c:v>42384</c:v>
                </c:pt>
                <c:pt idx="115">
                  <c:v>42391</c:v>
                </c:pt>
                <c:pt idx="116">
                  <c:v>42398</c:v>
                </c:pt>
                <c:pt idx="117">
                  <c:v>42405</c:v>
                </c:pt>
                <c:pt idx="118">
                  <c:v>42412</c:v>
                </c:pt>
                <c:pt idx="119">
                  <c:v>42419</c:v>
                </c:pt>
                <c:pt idx="120">
                  <c:v>42426</c:v>
                </c:pt>
                <c:pt idx="121">
                  <c:v>42433</c:v>
                </c:pt>
                <c:pt idx="122">
                  <c:v>42440</c:v>
                </c:pt>
                <c:pt idx="123">
                  <c:v>42447</c:v>
                </c:pt>
                <c:pt idx="124">
                  <c:v>42454</c:v>
                </c:pt>
                <c:pt idx="125">
                  <c:v>42461</c:v>
                </c:pt>
                <c:pt idx="126">
                  <c:v>42468</c:v>
                </c:pt>
                <c:pt idx="127">
                  <c:v>42475</c:v>
                </c:pt>
                <c:pt idx="128">
                  <c:v>42482</c:v>
                </c:pt>
                <c:pt idx="129">
                  <c:v>42489</c:v>
                </c:pt>
                <c:pt idx="130">
                  <c:v>42496</c:v>
                </c:pt>
                <c:pt idx="131">
                  <c:v>42503</c:v>
                </c:pt>
                <c:pt idx="132">
                  <c:v>42510</c:v>
                </c:pt>
                <c:pt idx="133">
                  <c:v>42517</c:v>
                </c:pt>
                <c:pt idx="134">
                  <c:v>42524</c:v>
                </c:pt>
                <c:pt idx="135">
                  <c:v>42531</c:v>
                </c:pt>
                <c:pt idx="136">
                  <c:v>42538</c:v>
                </c:pt>
                <c:pt idx="137">
                  <c:v>42545</c:v>
                </c:pt>
                <c:pt idx="138">
                  <c:v>42552</c:v>
                </c:pt>
                <c:pt idx="139">
                  <c:v>42559</c:v>
                </c:pt>
                <c:pt idx="140">
                  <c:v>42566</c:v>
                </c:pt>
                <c:pt idx="141">
                  <c:v>42573</c:v>
                </c:pt>
                <c:pt idx="142">
                  <c:v>42580</c:v>
                </c:pt>
                <c:pt idx="143">
                  <c:v>42587</c:v>
                </c:pt>
                <c:pt idx="144">
                  <c:v>42594</c:v>
                </c:pt>
                <c:pt idx="145">
                  <c:v>42601</c:v>
                </c:pt>
                <c:pt idx="146">
                  <c:v>42608</c:v>
                </c:pt>
                <c:pt idx="147">
                  <c:v>42615</c:v>
                </c:pt>
                <c:pt idx="148">
                  <c:v>42622</c:v>
                </c:pt>
                <c:pt idx="149">
                  <c:v>42629</c:v>
                </c:pt>
                <c:pt idx="150">
                  <c:v>42636</c:v>
                </c:pt>
                <c:pt idx="151">
                  <c:v>42643</c:v>
                </c:pt>
                <c:pt idx="152">
                  <c:v>42650</c:v>
                </c:pt>
                <c:pt idx="153">
                  <c:v>42657</c:v>
                </c:pt>
                <c:pt idx="154">
                  <c:v>42664</c:v>
                </c:pt>
                <c:pt idx="155">
                  <c:v>42671</c:v>
                </c:pt>
                <c:pt idx="156">
                  <c:v>42678</c:v>
                </c:pt>
                <c:pt idx="157">
                  <c:v>42685</c:v>
                </c:pt>
                <c:pt idx="158">
                  <c:v>42692</c:v>
                </c:pt>
                <c:pt idx="159">
                  <c:v>42699</c:v>
                </c:pt>
                <c:pt idx="160">
                  <c:v>42706</c:v>
                </c:pt>
                <c:pt idx="161">
                  <c:v>42713</c:v>
                </c:pt>
                <c:pt idx="162">
                  <c:v>42720</c:v>
                </c:pt>
                <c:pt idx="163">
                  <c:v>42727</c:v>
                </c:pt>
                <c:pt idx="164">
                  <c:v>42734</c:v>
                </c:pt>
                <c:pt idx="165">
                  <c:v>42741</c:v>
                </c:pt>
                <c:pt idx="166">
                  <c:v>42748</c:v>
                </c:pt>
                <c:pt idx="167">
                  <c:v>42755</c:v>
                </c:pt>
                <c:pt idx="168">
                  <c:v>42762</c:v>
                </c:pt>
                <c:pt idx="169">
                  <c:v>42769</c:v>
                </c:pt>
                <c:pt idx="170">
                  <c:v>42776</c:v>
                </c:pt>
                <c:pt idx="171">
                  <c:v>42783</c:v>
                </c:pt>
                <c:pt idx="172">
                  <c:v>42790</c:v>
                </c:pt>
                <c:pt idx="173">
                  <c:v>42797</c:v>
                </c:pt>
                <c:pt idx="174">
                  <c:v>42804</c:v>
                </c:pt>
                <c:pt idx="175">
                  <c:v>42811</c:v>
                </c:pt>
                <c:pt idx="176">
                  <c:v>42818</c:v>
                </c:pt>
                <c:pt idx="177">
                  <c:v>42825</c:v>
                </c:pt>
                <c:pt idx="178">
                  <c:v>42832</c:v>
                </c:pt>
                <c:pt idx="179">
                  <c:v>42839</c:v>
                </c:pt>
                <c:pt idx="180">
                  <c:v>42846</c:v>
                </c:pt>
                <c:pt idx="181">
                  <c:v>42853</c:v>
                </c:pt>
                <c:pt idx="182">
                  <c:v>42860</c:v>
                </c:pt>
                <c:pt idx="183">
                  <c:v>42867</c:v>
                </c:pt>
                <c:pt idx="184">
                  <c:v>42874</c:v>
                </c:pt>
                <c:pt idx="185">
                  <c:v>42881</c:v>
                </c:pt>
                <c:pt idx="186">
                  <c:v>42888</c:v>
                </c:pt>
                <c:pt idx="187">
                  <c:v>42895</c:v>
                </c:pt>
                <c:pt idx="188">
                  <c:v>42902</c:v>
                </c:pt>
                <c:pt idx="189">
                  <c:v>42909</c:v>
                </c:pt>
                <c:pt idx="190">
                  <c:v>42916</c:v>
                </c:pt>
                <c:pt idx="191">
                  <c:v>42923</c:v>
                </c:pt>
                <c:pt idx="192">
                  <c:v>42930</c:v>
                </c:pt>
                <c:pt idx="193">
                  <c:v>42937</c:v>
                </c:pt>
                <c:pt idx="194">
                  <c:v>42944</c:v>
                </c:pt>
                <c:pt idx="195">
                  <c:v>42951</c:v>
                </c:pt>
                <c:pt idx="196">
                  <c:v>42958</c:v>
                </c:pt>
                <c:pt idx="197">
                  <c:v>42965</c:v>
                </c:pt>
                <c:pt idx="198">
                  <c:v>42972</c:v>
                </c:pt>
                <c:pt idx="199">
                  <c:v>42979</c:v>
                </c:pt>
                <c:pt idx="200">
                  <c:v>42986</c:v>
                </c:pt>
                <c:pt idx="201">
                  <c:v>42993</c:v>
                </c:pt>
                <c:pt idx="202">
                  <c:v>43000</c:v>
                </c:pt>
                <c:pt idx="203">
                  <c:v>43007</c:v>
                </c:pt>
                <c:pt idx="204">
                  <c:v>43014</c:v>
                </c:pt>
                <c:pt idx="205">
                  <c:v>43021</c:v>
                </c:pt>
                <c:pt idx="206">
                  <c:v>43028</c:v>
                </c:pt>
                <c:pt idx="207">
                  <c:v>43035</c:v>
                </c:pt>
                <c:pt idx="208">
                  <c:v>43042</c:v>
                </c:pt>
                <c:pt idx="209">
                  <c:v>43049</c:v>
                </c:pt>
                <c:pt idx="210">
                  <c:v>43056</c:v>
                </c:pt>
                <c:pt idx="211">
                  <c:v>43063</c:v>
                </c:pt>
                <c:pt idx="212">
                  <c:v>43070</c:v>
                </c:pt>
                <c:pt idx="213">
                  <c:v>43077</c:v>
                </c:pt>
                <c:pt idx="214">
                  <c:v>43084</c:v>
                </c:pt>
                <c:pt idx="215">
                  <c:v>43091</c:v>
                </c:pt>
                <c:pt idx="216">
                  <c:v>43098</c:v>
                </c:pt>
                <c:pt idx="217">
                  <c:v>43105</c:v>
                </c:pt>
                <c:pt idx="218">
                  <c:v>43112</c:v>
                </c:pt>
                <c:pt idx="219">
                  <c:v>43119</c:v>
                </c:pt>
                <c:pt idx="220">
                  <c:v>43126</c:v>
                </c:pt>
                <c:pt idx="221">
                  <c:v>43133</c:v>
                </c:pt>
                <c:pt idx="222">
                  <c:v>43140</c:v>
                </c:pt>
                <c:pt idx="223">
                  <c:v>43147</c:v>
                </c:pt>
                <c:pt idx="224">
                  <c:v>43154</c:v>
                </c:pt>
                <c:pt idx="225">
                  <c:v>43161</c:v>
                </c:pt>
                <c:pt idx="226">
                  <c:v>43168</c:v>
                </c:pt>
                <c:pt idx="227">
                  <c:v>43175</c:v>
                </c:pt>
                <c:pt idx="228">
                  <c:v>43182</c:v>
                </c:pt>
                <c:pt idx="229">
                  <c:v>43189</c:v>
                </c:pt>
                <c:pt idx="230">
                  <c:v>43196</c:v>
                </c:pt>
                <c:pt idx="231">
                  <c:v>43203</c:v>
                </c:pt>
                <c:pt idx="232">
                  <c:v>43210</c:v>
                </c:pt>
                <c:pt idx="233">
                  <c:v>43217</c:v>
                </c:pt>
                <c:pt idx="234">
                  <c:v>43224</c:v>
                </c:pt>
                <c:pt idx="235">
                  <c:v>43231</c:v>
                </c:pt>
                <c:pt idx="236">
                  <c:v>43238</c:v>
                </c:pt>
                <c:pt idx="237">
                  <c:v>43245</c:v>
                </c:pt>
                <c:pt idx="238">
                  <c:v>43252</c:v>
                </c:pt>
                <c:pt idx="239">
                  <c:v>43259</c:v>
                </c:pt>
                <c:pt idx="240">
                  <c:v>43266</c:v>
                </c:pt>
                <c:pt idx="241">
                  <c:v>43273</c:v>
                </c:pt>
                <c:pt idx="242">
                  <c:v>43280</c:v>
                </c:pt>
                <c:pt idx="243">
                  <c:v>43287</c:v>
                </c:pt>
                <c:pt idx="244">
                  <c:v>43294</c:v>
                </c:pt>
                <c:pt idx="245">
                  <c:v>43301</c:v>
                </c:pt>
                <c:pt idx="246">
                  <c:v>43308</c:v>
                </c:pt>
                <c:pt idx="247">
                  <c:v>43315</c:v>
                </c:pt>
                <c:pt idx="248">
                  <c:v>43322</c:v>
                </c:pt>
                <c:pt idx="249">
                  <c:v>43329</c:v>
                </c:pt>
                <c:pt idx="250">
                  <c:v>43336</c:v>
                </c:pt>
                <c:pt idx="251">
                  <c:v>43343</c:v>
                </c:pt>
                <c:pt idx="252">
                  <c:v>43350</c:v>
                </c:pt>
                <c:pt idx="253">
                  <c:v>43357</c:v>
                </c:pt>
                <c:pt idx="254">
                  <c:v>43364</c:v>
                </c:pt>
                <c:pt idx="255">
                  <c:v>43371</c:v>
                </c:pt>
                <c:pt idx="256">
                  <c:v>43378</c:v>
                </c:pt>
                <c:pt idx="257">
                  <c:v>43385</c:v>
                </c:pt>
                <c:pt idx="258">
                  <c:v>43392</c:v>
                </c:pt>
                <c:pt idx="259">
                  <c:v>43399</c:v>
                </c:pt>
                <c:pt idx="260">
                  <c:v>43406</c:v>
                </c:pt>
                <c:pt idx="261">
                  <c:v>43413</c:v>
                </c:pt>
                <c:pt idx="262">
                  <c:v>43420</c:v>
                </c:pt>
                <c:pt idx="263">
                  <c:v>43427</c:v>
                </c:pt>
                <c:pt idx="264">
                  <c:v>43434</c:v>
                </c:pt>
                <c:pt idx="265">
                  <c:v>43441</c:v>
                </c:pt>
                <c:pt idx="266">
                  <c:v>43448</c:v>
                </c:pt>
                <c:pt idx="267">
                  <c:v>43455</c:v>
                </c:pt>
                <c:pt idx="268">
                  <c:v>43462</c:v>
                </c:pt>
                <c:pt idx="269">
                  <c:v>43469</c:v>
                </c:pt>
                <c:pt idx="270">
                  <c:v>43476</c:v>
                </c:pt>
                <c:pt idx="271">
                  <c:v>43483</c:v>
                </c:pt>
                <c:pt idx="272">
                  <c:v>43490</c:v>
                </c:pt>
                <c:pt idx="273">
                  <c:v>43497</c:v>
                </c:pt>
                <c:pt idx="274">
                  <c:v>43504</c:v>
                </c:pt>
                <c:pt idx="275">
                  <c:v>43511</c:v>
                </c:pt>
                <c:pt idx="276">
                  <c:v>43518</c:v>
                </c:pt>
                <c:pt idx="277">
                  <c:v>43525</c:v>
                </c:pt>
                <c:pt idx="278">
                  <c:v>43532</c:v>
                </c:pt>
                <c:pt idx="279">
                  <c:v>43539</c:v>
                </c:pt>
                <c:pt idx="280">
                  <c:v>43546</c:v>
                </c:pt>
                <c:pt idx="281">
                  <c:v>43553</c:v>
                </c:pt>
                <c:pt idx="282">
                  <c:v>43560</c:v>
                </c:pt>
                <c:pt idx="283">
                  <c:v>43567</c:v>
                </c:pt>
                <c:pt idx="284">
                  <c:v>43574</c:v>
                </c:pt>
                <c:pt idx="285">
                  <c:v>43581</c:v>
                </c:pt>
                <c:pt idx="286">
                  <c:v>43588</c:v>
                </c:pt>
                <c:pt idx="287">
                  <c:v>43595</c:v>
                </c:pt>
                <c:pt idx="288">
                  <c:v>43602</c:v>
                </c:pt>
                <c:pt idx="289">
                  <c:v>43609</c:v>
                </c:pt>
                <c:pt idx="290">
                  <c:v>43616</c:v>
                </c:pt>
                <c:pt idx="291">
                  <c:v>43623</c:v>
                </c:pt>
                <c:pt idx="292">
                  <c:v>43630</c:v>
                </c:pt>
                <c:pt idx="293">
                  <c:v>43637</c:v>
                </c:pt>
                <c:pt idx="294">
                  <c:v>43644</c:v>
                </c:pt>
                <c:pt idx="295">
                  <c:v>43651</c:v>
                </c:pt>
                <c:pt idx="296">
                  <c:v>43658</c:v>
                </c:pt>
                <c:pt idx="297">
                  <c:v>43665</c:v>
                </c:pt>
                <c:pt idx="298">
                  <c:v>43672</c:v>
                </c:pt>
                <c:pt idx="299">
                  <c:v>43679</c:v>
                </c:pt>
                <c:pt idx="300">
                  <c:v>43686</c:v>
                </c:pt>
                <c:pt idx="301">
                  <c:v>43693</c:v>
                </c:pt>
                <c:pt idx="302">
                  <c:v>43700</c:v>
                </c:pt>
                <c:pt idx="303">
                  <c:v>43707</c:v>
                </c:pt>
                <c:pt idx="304">
                  <c:v>43714</c:v>
                </c:pt>
                <c:pt idx="305">
                  <c:v>43721</c:v>
                </c:pt>
                <c:pt idx="306">
                  <c:v>43728</c:v>
                </c:pt>
                <c:pt idx="307">
                  <c:v>43735</c:v>
                </c:pt>
                <c:pt idx="308">
                  <c:v>43742</c:v>
                </c:pt>
                <c:pt idx="309">
                  <c:v>43749</c:v>
                </c:pt>
                <c:pt idx="310">
                  <c:v>43756</c:v>
                </c:pt>
                <c:pt idx="311">
                  <c:v>43763</c:v>
                </c:pt>
                <c:pt idx="312">
                  <c:v>43770</c:v>
                </c:pt>
                <c:pt idx="313">
                  <c:v>43777</c:v>
                </c:pt>
                <c:pt idx="314">
                  <c:v>43784</c:v>
                </c:pt>
                <c:pt idx="315">
                  <c:v>43791</c:v>
                </c:pt>
                <c:pt idx="316">
                  <c:v>43798</c:v>
                </c:pt>
                <c:pt idx="317">
                  <c:v>43805</c:v>
                </c:pt>
                <c:pt idx="318">
                  <c:v>43812</c:v>
                </c:pt>
                <c:pt idx="319">
                  <c:v>43819</c:v>
                </c:pt>
                <c:pt idx="320">
                  <c:v>43826</c:v>
                </c:pt>
                <c:pt idx="321">
                  <c:v>43833</c:v>
                </c:pt>
                <c:pt idx="322">
                  <c:v>43840</c:v>
                </c:pt>
                <c:pt idx="323">
                  <c:v>43847</c:v>
                </c:pt>
                <c:pt idx="324">
                  <c:v>43854</c:v>
                </c:pt>
                <c:pt idx="325">
                  <c:v>43861</c:v>
                </c:pt>
                <c:pt idx="326">
                  <c:v>43868</c:v>
                </c:pt>
                <c:pt idx="327">
                  <c:v>43875</c:v>
                </c:pt>
                <c:pt idx="328">
                  <c:v>43882</c:v>
                </c:pt>
                <c:pt idx="329">
                  <c:v>43889</c:v>
                </c:pt>
                <c:pt idx="330">
                  <c:v>43896</c:v>
                </c:pt>
                <c:pt idx="331">
                  <c:v>43903</c:v>
                </c:pt>
                <c:pt idx="332">
                  <c:v>43910</c:v>
                </c:pt>
                <c:pt idx="333">
                  <c:v>43917</c:v>
                </c:pt>
                <c:pt idx="334">
                  <c:v>43924</c:v>
                </c:pt>
                <c:pt idx="335">
                  <c:v>43931</c:v>
                </c:pt>
                <c:pt idx="336">
                  <c:v>43938</c:v>
                </c:pt>
                <c:pt idx="337">
                  <c:v>43945</c:v>
                </c:pt>
                <c:pt idx="338">
                  <c:v>43952</c:v>
                </c:pt>
                <c:pt idx="339">
                  <c:v>43959</c:v>
                </c:pt>
                <c:pt idx="340">
                  <c:v>43966</c:v>
                </c:pt>
                <c:pt idx="341">
                  <c:v>43973</c:v>
                </c:pt>
                <c:pt idx="342">
                  <c:v>43980</c:v>
                </c:pt>
                <c:pt idx="343">
                  <c:v>43987</c:v>
                </c:pt>
                <c:pt idx="344">
                  <c:v>43994</c:v>
                </c:pt>
                <c:pt idx="345">
                  <c:v>44001</c:v>
                </c:pt>
                <c:pt idx="346">
                  <c:v>44008</c:v>
                </c:pt>
                <c:pt idx="347">
                  <c:v>44015</c:v>
                </c:pt>
                <c:pt idx="348">
                  <c:v>44022</c:v>
                </c:pt>
                <c:pt idx="349">
                  <c:v>44029</c:v>
                </c:pt>
                <c:pt idx="350">
                  <c:v>44036</c:v>
                </c:pt>
                <c:pt idx="351">
                  <c:v>44043</c:v>
                </c:pt>
                <c:pt idx="352">
                  <c:v>44050</c:v>
                </c:pt>
                <c:pt idx="353">
                  <c:v>44057</c:v>
                </c:pt>
                <c:pt idx="354">
                  <c:v>44064</c:v>
                </c:pt>
                <c:pt idx="355">
                  <c:v>44071</c:v>
                </c:pt>
                <c:pt idx="356">
                  <c:v>44078</c:v>
                </c:pt>
                <c:pt idx="357">
                  <c:v>44085</c:v>
                </c:pt>
                <c:pt idx="358">
                  <c:v>44092</c:v>
                </c:pt>
                <c:pt idx="359">
                  <c:v>44099</c:v>
                </c:pt>
                <c:pt idx="360">
                  <c:v>44106</c:v>
                </c:pt>
                <c:pt idx="361">
                  <c:v>44113</c:v>
                </c:pt>
                <c:pt idx="362">
                  <c:v>44120</c:v>
                </c:pt>
                <c:pt idx="363">
                  <c:v>44127</c:v>
                </c:pt>
                <c:pt idx="364">
                  <c:v>44134</c:v>
                </c:pt>
                <c:pt idx="365">
                  <c:v>44141</c:v>
                </c:pt>
                <c:pt idx="366">
                  <c:v>44148</c:v>
                </c:pt>
                <c:pt idx="367">
                  <c:v>44155</c:v>
                </c:pt>
                <c:pt idx="368">
                  <c:v>44162</c:v>
                </c:pt>
                <c:pt idx="369">
                  <c:v>44169</c:v>
                </c:pt>
                <c:pt idx="370">
                  <c:v>44176</c:v>
                </c:pt>
                <c:pt idx="371">
                  <c:v>44183</c:v>
                </c:pt>
                <c:pt idx="372">
                  <c:v>44190</c:v>
                </c:pt>
                <c:pt idx="373">
                  <c:v>44197</c:v>
                </c:pt>
                <c:pt idx="374">
                  <c:v>44204</c:v>
                </c:pt>
                <c:pt idx="375">
                  <c:v>44211</c:v>
                </c:pt>
                <c:pt idx="376">
                  <c:v>44218</c:v>
                </c:pt>
                <c:pt idx="377">
                  <c:v>44225</c:v>
                </c:pt>
                <c:pt idx="378">
                  <c:v>44232</c:v>
                </c:pt>
                <c:pt idx="379">
                  <c:v>44239</c:v>
                </c:pt>
                <c:pt idx="380">
                  <c:v>44246</c:v>
                </c:pt>
                <c:pt idx="381">
                  <c:v>44253</c:v>
                </c:pt>
                <c:pt idx="382">
                  <c:v>44260</c:v>
                </c:pt>
                <c:pt idx="383">
                  <c:v>44267</c:v>
                </c:pt>
                <c:pt idx="384">
                  <c:v>44274</c:v>
                </c:pt>
                <c:pt idx="385">
                  <c:v>44281</c:v>
                </c:pt>
                <c:pt idx="386">
                  <c:v>44288</c:v>
                </c:pt>
                <c:pt idx="387">
                  <c:v>44295</c:v>
                </c:pt>
                <c:pt idx="388">
                  <c:v>44302</c:v>
                </c:pt>
                <c:pt idx="389">
                  <c:v>44309</c:v>
                </c:pt>
                <c:pt idx="390">
                  <c:v>44316</c:v>
                </c:pt>
                <c:pt idx="391">
                  <c:v>44323</c:v>
                </c:pt>
                <c:pt idx="392">
                  <c:v>44330</c:v>
                </c:pt>
                <c:pt idx="393">
                  <c:v>44337</c:v>
                </c:pt>
                <c:pt idx="394">
                  <c:v>44344</c:v>
                </c:pt>
                <c:pt idx="395">
                  <c:v>44351</c:v>
                </c:pt>
                <c:pt idx="396">
                  <c:v>44358</c:v>
                </c:pt>
                <c:pt idx="397">
                  <c:v>44365</c:v>
                </c:pt>
                <c:pt idx="398">
                  <c:v>44372</c:v>
                </c:pt>
                <c:pt idx="399">
                  <c:v>44379</c:v>
                </c:pt>
                <c:pt idx="400">
                  <c:v>44386</c:v>
                </c:pt>
                <c:pt idx="401">
                  <c:v>44393</c:v>
                </c:pt>
                <c:pt idx="402">
                  <c:v>44400</c:v>
                </c:pt>
                <c:pt idx="403">
                  <c:v>44407</c:v>
                </c:pt>
                <c:pt idx="404">
                  <c:v>44414</c:v>
                </c:pt>
                <c:pt idx="405">
                  <c:v>44421</c:v>
                </c:pt>
                <c:pt idx="406">
                  <c:v>44428</c:v>
                </c:pt>
                <c:pt idx="407">
                  <c:v>44435</c:v>
                </c:pt>
                <c:pt idx="408">
                  <c:v>44442</c:v>
                </c:pt>
                <c:pt idx="409">
                  <c:v>44449</c:v>
                </c:pt>
                <c:pt idx="410">
                  <c:v>44456</c:v>
                </c:pt>
                <c:pt idx="411">
                  <c:v>44463</c:v>
                </c:pt>
                <c:pt idx="412">
                  <c:v>44470</c:v>
                </c:pt>
                <c:pt idx="413">
                  <c:v>44477</c:v>
                </c:pt>
                <c:pt idx="414">
                  <c:v>44484</c:v>
                </c:pt>
                <c:pt idx="415">
                  <c:v>44491</c:v>
                </c:pt>
                <c:pt idx="416">
                  <c:v>44498</c:v>
                </c:pt>
                <c:pt idx="417">
                  <c:v>44505</c:v>
                </c:pt>
                <c:pt idx="418">
                  <c:v>44512</c:v>
                </c:pt>
                <c:pt idx="419">
                  <c:v>44519</c:v>
                </c:pt>
                <c:pt idx="420">
                  <c:v>44526</c:v>
                </c:pt>
                <c:pt idx="421">
                  <c:v>44533</c:v>
                </c:pt>
                <c:pt idx="422">
                  <c:v>44540</c:v>
                </c:pt>
                <c:pt idx="423">
                  <c:v>44547</c:v>
                </c:pt>
                <c:pt idx="424">
                  <c:v>44554</c:v>
                </c:pt>
                <c:pt idx="425">
                  <c:v>44561</c:v>
                </c:pt>
                <c:pt idx="426">
                  <c:v>44568</c:v>
                </c:pt>
                <c:pt idx="427">
                  <c:v>44575</c:v>
                </c:pt>
                <c:pt idx="428">
                  <c:v>44582</c:v>
                </c:pt>
                <c:pt idx="429">
                  <c:v>44589</c:v>
                </c:pt>
                <c:pt idx="430">
                  <c:v>44596</c:v>
                </c:pt>
                <c:pt idx="431">
                  <c:v>44603</c:v>
                </c:pt>
                <c:pt idx="432">
                  <c:v>44610</c:v>
                </c:pt>
                <c:pt idx="433">
                  <c:v>44617</c:v>
                </c:pt>
                <c:pt idx="434">
                  <c:v>44624</c:v>
                </c:pt>
                <c:pt idx="435">
                  <c:v>44631</c:v>
                </c:pt>
                <c:pt idx="436">
                  <c:v>44638</c:v>
                </c:pt>
                <c:pt idx="437">
                  <c:v>44645</c:v>
                </c:pt>
                <c:pt idx="438">
                  <c:v>44652</c:v>
                </c:pt>
                <c:pt idx="439">
                  <c:v>44659</c:v>
                </c:pt>
                <c:pt idx="440">
                  <c:v>44666</c:v>
                </c:pt>
                <c:pt idx="441">
                  <c:v>44673</c:v>
                </c:pt>
                <c:pt idx="442">
                  <c:v>44680</c:v>
                </c:pt>
                <c:pt idx="443">
                  <c:v>44687</c:v>
                </c:pt>
                <c:pt idx="444">
                  <c:v>44694</c:v>
                </c:pt>
                <c:pt idx="445">
                  <c:v>44701</c:v>
                </c:pt>
                <c:pt idx="446">
                  <c:v>44708</c:v>
                </c:pt>
                <c:pt idx="447">
                  <c:v>44715</c:v>
                </c:pt>
                <c:pt idx="448">
                  <c:v>44722</c:v>
                </c:pt>
                <c:pt idx="449">
                  <c:v>44729</c:v>
                </c:pt>
                <c:pt idx="450">
                  <c:v>44736</c:v>
                </c:pt>
                <c:pt idx="451">
                  <c:v>44743</c:v>
                </c:pt>
                <c:pt idx="452">
                  <c:v>44750</c:v>
                </c:pt>
                <c:pt idx="453">
                  <c:v>44757</c:v>
                </c:pt>
                <c:pt idx="454">
                  <c:v>44764</c:v>
                </c:pt>
                <c:pt idx="455">
                  <c:v>44771</c:v>
                </c:pt>
                <c:pt idx="456">
                  <c:v>44778</c:v>
                </c:pt>
                <c:pt idx="457">
                  <c:v>44785</c:v>
                </c:pt>
                <c:pt idx="458">
                  <c:v>44792</c:v>
                </c:pt>
                <c:pt idx="459">
                  <c:v>44799</c:v>
                </c:pt>
                <c:pt idx="460">
                  <c:v>44806</c:v>
                </c:pt>
                <c:pt idx="461">
                  <c:v>44813</c:v>
                </c:pt>
                <c:pt idx="462">
                  <c:v>44820</c:v>
                </c:pt>
                <c:pt idx="463">
                  <c:v>44827</c:v>
                </c:pt>
                <c:pt idx="464">
                  <c:v>44834</c:v>
                </c:pt>
                <c:pt idx="465">
                  <c:v>44841</c:v>
                </c:pt>
                <c:pt idx="466">
                  <c:v>44848</c:v>
                </c:pt>
                <c:pt idx="467">
                  <c:v>44855</c:v>
                </c:pt>
                <c:pt idx="468">
                  <c:v>44862</c:v>
                </c:pt>
                <c:pt idx="469">
                  <c:v>44869</c:v>
                </c:pt>
                <c:pt idx="470">
                  <c:v>44876</c:v>
                </c:pt>
                <c:pt idx="471">
                  <c:v>44883</c:v>
                </c:pt>
                <c:pt idx="472">
                  <c:v>44890</c:v>
                </c:pt>
                <c:pt idx="473">
                  <c:v>44897</c:v>
                </c:pt>
                <c:pt idx="474">
                  <c:v>44904</c:v>
                </c:pt>
                <c:pt idx="475">
                  <c:v>44911</c:v>
                </c:pt>
                <c:pt idx="476">
                  <c:v>44918</c:v>
                </c:pt>
                <c:pt idx="477">
                  <c:v>44925</c:v>
                </c:pt>
                <c:pt idx="478">
                  <c:v>44932</c:v>
                </c:pt>
                <c:pt idx="479">
                  <c:v>44939</c:v>
                </c:pt>
                <c:pt idx="480">
                  <c:v>44946</c:v>
                </c:pt>
                <c:pt idx="481">
                  <c:v>44953</c:v>
                </c:pt>
                <c:pt idx="482">
                  <c:v>44960</c:v>
                </c:pt>
                <c:pt idx="483">
                  <c:v>44967</c:v>
                </c:pt>
                <c:pt idx="484">
                  <c:v>44974</c:v>
                </c:pt>
                <c:pt idx="485">
                  <c:v>44981</c:v>
                </c:pt>
                <c:pt idx="486">
                  <c:v>44988</c:v>
                </c:pt>
                <c:pt idx="487">
                  <c:v>44995</c:v>
                </c:pt>
                <c:pt idx="488">
                  <c:v>45002</c:v>
                </c:pt>
                <c:pt idx="489">
                  <c:v>45009</c:v>
                </c:pt>
                <c:pt idx="490">
                  <c:v>45016</c:v>
                </c:pt>
                <c:pt idx="491">
                  <c:v>45023</c:v>
                </c:pt>
                <c:pt idx="492">
                  <c:v>45030</c:v>
                </c:pt>
                <c:pt idx="493">
                  <c:v>45037</c:v>
                </c:pt>
                <c:pt idx="494">
                  <c:v>45044</c:v>
                </c:pt>
                <c:pt idx="495">
                  <c:v>45051</c:v>
                </c:pt>
                <c:pt idx="496">
                  <c:v>45058</c:v>
                </c:pt>
                <c:pt idx="497">
                  <c:v>45065</c:v>
                </c:pt>
                <c:pt idx="498">
                  <c:v>45072</c:v>
                </c:pt>
                <c:pt idx="499">
                  <c:v>45079</c:v>
                </c:pt>
                <c:pt idx="500">
                  <c:v>45086</c:v>
                </c:pt>
                <c:pt idx="501">
                  <c:v>45093</c:v>
                </c:pt>
                <c:pt idx="502">
                  <c:v>45100</c:v>
                </c:pt>
                <c:pt idx="503">
                  <c:v>45107</c:v>
                </c:pt>
                <c:pt idx="504">
                  <c:v>45114</c:v>
                </c:pt>
                <c:pt idx="505">
                  <c:v>45121</c:v>
                </c:pt>
                <c:pt idx="506">
                  <c:v>45128</c:v>
                </c:pt>
                <c:pt idx="507">
                  <c:v>45135</c:v>
                </c:pt>
                <c:pt idx="508">
                  <c:v>45142</c:v>
                </c:pt>
                <c:pt idx="509">
                  <c:v>45149</c:v>
                </c:pt>
                <c:pt idx="510">
                  <c:v>45156</c:v>
                </c:pt>
                <c:pt idx="511">
                  <c:v>45163</c:v>
                </c:pt>
                <c:pt idx="512">
                  <c:v>45170</c:v>
                </c:pt>
                <c:pt idx="513">
                  <c:v>45177</c:v>
                </c:pt>
                <c:pt idx="514">
                  <c:v>45184</c:v>
                </c:pt>
                <c:pt idx="515">
                  <c:v>45191</c:v>
                </c:pt>
                <c:pt idx="516">
                  <c:v>45198</c:v>
                </c:pt>
                <c:pt idx="517">
                  <c:v>45205</c:v>
                </c:pt>
                <c:pt idx="518">
                  <c:v>45212</c:v>
                </c:pt>
                <c:pt idx="519">
                  <c:v>45219</c:v>
                </c:pt>
                <c:pt idx="520">
                  <c:v>45226</c:v>
                </c:pt>
                <c:pt idx="521">
                  <c:v>45233</c:v>
                </c:pt>
              </c:numCache>
            </c:numRef>
          </c:cat>
          <c:val>
            <c:numRef>
              <c:f>Hoja1!$C$2:$C$523</c:f>
              <c:numCache>
                <c:formatCode>0.00%</c:formatCode>
                <c:ptCount val="522"/>
                <c:pt idx="0">
                  <c:v>0</c:v>
                </c:pt>
                <c:pt idx="1">
                  <c:v>1.5570904942364683E-2</c:v>
                </c:pt>
                <c:pt idx="2">
                  <c:v>1.9287138330857712E-2</c:v>
                </c:pt>
                <c:pt idx="3">
                  <c:v>1.9880154297106767E-2</c:v>
                </c:pt>
                <c:pt idx="4">
                  <c:v>1.9473514777393008E-2</c:v>
                </c:pt>
                <c:pt idx="5">
                  <c:v>2.660100191459458E-3</c:v>
                </c:pt>
                <c:pt idx="6">
                  <c:v>2.6945515952129462E-2</c:v>
                </c:pt>
                <c:pt idx="7">
                  <c:v>3.9980571667391551E-2</c:v>
                </c:pt>
                <c:pt idx="8">
                  <c:v>3.4315857246937531E-2</c:v>
                </c:pt>
                <c:pt idx="9">
                  <c:v>4.0528405464783424E-2</c:v>
                </c:pt>
                <c:pt idx="10">
                  <c:v>3.845567346846579E-2</c:v>
                </c:pt>
                <c:pt idx="11">
                  <c:v>1.1114813538837032E-2</c:v>
                </c:pt>
                <c:pt idx="12">
                  <c:v>6.7660297863447738E-3</c:v>
                </c:pt>
                <c:pt idx="13">
                  <c:v>1.4915763493937195E-2</c:v>
                </c:pt>
                <c:pt idx="14">
                  <c:v>3.8416139070715838E-2</c:v>
                </c:pt>
                <c:pt idx="15">
                  <c:v>3.7071969547218142E-2</c:v>
                </c:pt>
                <c:pt idx="16">
                  <c:v>5.0174798515765895E-2</c:v>
                </c:pt>
                <c:pt idx="17">
                  <c:v>6.0674005003925169E-2</c:v>
                </c:pt>
                <c:pt idx="18">
                  <c:v>3.9828081847498975E-2</c:v>
                </c:pt>
                <c:pt idx="19">
                  <c:v>5.4167772688508586E-2</c:v>
                </c:pt>
                <c:pt idx="20">
                  <c:v>4.9141256403160583E-2</c:v>
                </c:pt>
                <c:pt idx="21">
                  <c:v>5.3360141420188523E-2</c:v>
                </c:pt>
                <c:pt idx="22">
                  <c:v>2.5460152150953652E-2</c:v>
                </c:pt>
                <c:pt idx="23">
                  <c:v>5.3224594913617418E-2</c:v>
                </c:pt>
                <c:pt idx="24">
                  <c:v>5.2405668103083336E-2</c:v>
                </c:pt>
                <c:pt idx="25">
                  <c:v>6.2424814047136401E-2</c:v>
                </c:pt>
                <c:pt idx="26">
                  <c:v>6.092250693263912E-2</c:v>
                </c:pt>
                <c:pt idx="27">
                  <c:v>6.0572345123996785E-2</c:v>
                </c:pt>
                <c:pt idx="28">
                  <c:v>7.3375842223866394E-2</c:v>
                </c:pt>
                <c:pt idx="29">
                  <c:v>8.6388306854699781E-2</c:v>
                </c:pt>
                <c:pt idx="30">
                  <c:v>0.10099909070885182</c:v>
                </c:pt>
                <c:pt idx="31">
                  <c:v>9.3498850678579881E-2</c:v>
                </c:pt>
                <c:pt idx="32">
                  <c:v>0.1085840473057309</c:v>
                </c:pt>
                <c:pt idx="33">
                  <c:v>0.10750532302426863</c:v>
                </c:pt>
                <c:pt idx="34">
                  <c:v>0.12133106669452909</c:v>
                </c:pt>
                <c:pt idx="35">
                  <c:v>0.11123849972608313</c:v>
                </c:pt>
                <c:pt idx="36">
                  <c:v>0.11725337595517926</c:v>
                </c:pt>
                <c:pt idx="37">
                  <c:v>0.11732114920846493</c:v>
                </c:pt>
                <c:pt idx="38">
                  <c:v>8.7280654689626758E-2</c:v>
                </c:pt>
                <c:pt idx="39">
                  <c:v>9.0917819282620105E-2</c:v>
                </c:pt>
                <c:pt idx="40">
                  <c:v>0.10417313807106021</c:v>
                </c:pt>
                <c:pt idx="41">
                  <c:v>0.12300280694224042</c:v>
                </c:pt>
                <c:pt idx="42">
                  <c:v>0.13145752028961777</c:v>
                </c:pt>
                <c:pt idx="43">
                  <c:v>0.13390865295011323</c:v>
                </c:pt>
                <c:pt idx="44">
                  <c:v>0.12138754440560029</c:v>
                </c:pt>
                <c:pt idx="45">
                  <c:v>0.13542790337793198</c:v>
                </c:pt>
                <c:pt idx="46">
                  <c:v>0.11986829397778176</c:v>
                </c:pt>
                <c:pt idx="47">
                  <c:v>0.11142487617261865</c:v>
                </c:pt>
                <c:pt idx="48">
                  <c:v>7.6538594043860764E-2</c:v>
                </c:pt>
                <c:pt idx="49">
                  <c:v>6.5598861409344789E-2</c:v>
                </c:pt>
                <c:pt idx="50">
                  <c:v>0.10954981616505055</c:v>
                </c:pt>
                <c:pt idx="51">
                  <c:v>0.1397484482748883</c:v>
                </c:pt>
                <c:pt idx="52">
                  <c:v>0.14758190680048133</c:v>
                </c:pt>
                <c:pt idx="53">
                  <c:v>0.15204364597511599</c:v>
                </c:pt>
                <c:pt idx="54">
                  <c:v>0.16541756795680596</c:v>
                </c:pt>
                <c:pt idx="55">
                  <c:v>0.16771056302630161</c:v>
                </c:pt>
                <c:pt idx="56">
                  <c:v>0.1721214722609723</c:v>
                </c:pt>
                <c:pt idx="57">
                  <c:v>0.13087015209447594</c:v>
                </c:pt>
                <c:pt idx="58">
                  <c:v>0.16945572429840583</c:v>
                </c:pt>
                <c:pt idx="59">
                  <c:v>0.1796894855445299</c:v>
                </c:pt>
                <c:pt idx="60">
                  <c:v>0.16242424927002563</c:v>
                </c:pt>
                <c:pt idx="61">
                  <c:v>0.15486188375757504</c:v>
                </c:pt>
                <c:pt idx="62">
                  <c:v>0.14052219291656565</c:v>
                </c:pt>
                <c:pt idx="63">
                  <c:v>0.15882097130367523</c:v>
                </c:pt>
                <c:pt idx="64">
                  <c:v>0.12672468810184068</c:v>
                </c:pt>
                <c:pt idx="65">
                  <c:v>0.1608824077577784</c:v>
                </c:pt>
                <c:pt idx="66">
                  <c:v>0.18433195339459285</c:v>
                </c:pt>
                <c:pt idx="67">
                  <c:v>0.19184913673818649</c:v>
                </c:pt>
                <c:pt idx="68">
                  <c:v>0.18857342949604949</c:v>
                </c:pt>
                <c:pt idx="69">
                  <c:v>0.16980023833594093</c:v>
                </c:pt>
                <c:pt idx="70">
                  <c:v>0.15971331913860198</c:v>
                </c:pt>
                <c:pt idx="71">
                  <c:v>0.19060662709461718</c:v>
                </c:pt>
                <c:pt idx="72">
                  <c:v>0.16401692072223706</c:v>
                </c:pt>
                <c:pt idx="73">
                  <c:v>0.16737169675987373</c:v>
                </c:pt>
                <c:pt idx="74">
                  <c:v>0.18719537334590908</c:v>
                </c:pt>
                <c:pt idx="75">
                  <c:v>0.1754028272742163</c:v>
                </c:pt>
                <c:pt idx="76">
                  <c:v>0.19602283958635724</c:v>
                </c:pt>
                <c:pt idx="77">
                  <c:v>0.19071393474565257</c:v>
                </c:pt>
                <c:pt idx="78">
                  <c:v>0.19512484398032326</c:v>
                </c:pt>
                <c:pt idx="79">
                  <c:v>0.19886931622435222</c:v>
                </c:pt>
                <c:pt idx="80">
                  <c:v>0.20075002400302733</c:v>
                </c:pt>
                <c:pt idx="81">
                  <c:v>0.19020563534601065</c:v>
                </c:pt>
                <c:pt idx="82">
                  <c:v>0.18198248061402578</c:v>
                </c:pt>
                <c:pt idx="83">
                  <c:v>0.18270539531573871</c:v>
                </c:pt>
                <c:pt idx="84">
                  <c:v>0.19167405583386521</c:v>
                </c:pt>
                <c:pt idx="85">
                  <c:v>0.18687345039280245</c:v>
                </c:pt>
                <c:pt idx="86">
                  <c:v>0.17291780798707812</c:v>
                </c:pt>
                <c:pt idx="87">
                  <c:v>0.17282744364936375</c:v>
                </c:pt>
                <c:pt idx="88">
                  <c:v>0.20107759472724096</c:v>
                </c:pt>
                <c:pt idx="89">
                  <c:v>0.17453871829482503</c:v>
                </c:pt>
                <c:pt idx="90">
                  <c:v>0.18820067660297868</c:v>
                </c:pt>
                <c:pt idx="91">
                  <c:v>0.17336398190454161</c:v>
                </c:pt>
                <c:pt idx="92">
                  <c:v>0.18125391814120562</c:v>
                </c:pt>
                <c:pt idx="93">
                  <c:v>0.11311355973365123</c:v>
                </c:pt>
                <c:pt idx="94">
                  <c:v>0.1232682521842754</c:v>
                </c:pt>
                <c:pt idx="95">
                  <c:v>8.5061080644523779E-2</c:v>
                </c:pt>
                <c:pt idx="96">
                  <c:v>0.1075561529642326</c:v>
                </c:pt>
                <c:pt idx="97">
                  <c:v>0.10585052608987877</c:v>
                </c:pt>
                <c:pt idx="98">
                  <c:v>9.0776625004941769E-2</c:v>
                </c:pt>
                <c:pt idx="99">
                  <c:v>0.10208346276142111</c:v>
                </c:pt>
                <c:pt idx="100">
                  <c:v>0.13796375260503457</c:v>
                </c:pt>
                <c:pt idx="101">
                  <c:v>0.14825399156223007</c:v>
                </c:pt>
                <c:pt idx="102">
                  <c:v>0.17199722129661543</c:v>
                </c:pt>
                <c:pt idx="103">
                  <c:v>0.17437493293271822</c:v>
                </c:pt>
                <c:pt idx="104">
                  <c:v>0.18558011080926917</c:v>
                </c:pt>
                <c:pt idx="105">
                  <c:v>0.14256668605734757</c:v>
                </c:pt>
                <c:pt idx="106">
                  <c:v>0.17991539638881515</c:v>
                </c:pt>
                <c:pt idx="107">
                  <c:v>0.18044628687288577</c:v>
                </c:pt>
                <c:pt idx="108">
                  <c:v>0.18133863470781275</c:v>
                </c:pt>
                <c:pt idx="109">
                  <c:v>0.13654051428603697</c:v>
                </c:pt>
                <c:pt idx="110">
                  <c:v>0.13268873439097262</c:v>
                </c:pt>
                <c:pt idx="111">
                  <c:v>0.16399997740891559</c:v>
                </c:pt>
                <c:pt idx="112">
                  <c:v>0.15437052767125459</c:v>
                </c:pt>
                <c:pt idx="113">
                  <c:v>8.5518550104201507E-2</c:v>
                </c:pt>
                <c:pt idx="114">
                  <c:v>6.1967344587458673E-2</c:v>
                </c:pt>
                <c:pt idx="115">
                  <c:v>7.6973472419110012E-2</c:v>
                </c:pt>
                <c:pt idx="116">
                  <c:v>9.5803141290289773E-2</c:v>
                </c:pt>
                <c:pt idx="117">
                  <c:v>6.1809206996458865E-2</c:v>
                </c:pt>
                <c:pt idx="118">
                  <c:v>5.3185060515867466E-2</c:v>
                </c:pt>
                <c:pt idx="119">
                  <c:v>8.3118247383670019E-2</c:v>
                </c:pt>
                <c:pt idx="120">
                  <c:v>0.10021405052496046</c:v>
                </c:pt>
                <c:pt idx="121">
                  <c:v>0.12954857365540695</c:v>
                </c:pt>
                <c:pt idx="122">
                  <c:v>0.14208662551324136</c:v>
                </c:pt>
                <c:pt idx="123">
                  <c:v>0.15755587057567744</c:v>
                </c:pt>
                <c:pt idx="124">
                  <c:v>0.1498523107855485</c:v>
                </c:pt>
                <c:pt idx="125">
                  <c:v>0.17065869954422497</c:v>
                </c:pt>
                <c:pt idx="126">
                  <c:v>0.15643761189646499</c:v>
                </c:pt>
                <c:pt idx="127">
                  <c:v>0.17514867757439534</c:v>
                </c:pt>
                <c:pt idx="128">
                  <c:v>0.1812765092256341</c:v>
                </c:pt>
                <c:pt idx="129">
                  <c:v>0.1664341667560898</c:v>
                </c:pt>
                <c:pt idx="130">
                  <c:v>0.16182558553266957</c:v>
                </c:pt>
                <c:pt idx="131">
                  <c:v>0.15587848255685888</c:v>
                </c:pt>
                <c:pt idx="132">
                  <c:v>0.1591033598590319</c:v>
                </c:pt>
                <c:pt idx="133">
                  <c:v>0.18550104201376927</c:v>
                </c:pt>
                <c:pt idx="134">
                  <c:v>0.18554057641151922</c:v>
                </c:pt>
                <c:pt idx="135">
                  <c:v>0.18381235845273669</c:v>
                </c:pt>
                <c:pt idx="136">
                  <c:v>0.16977764725151223</c:v>
                </c:pt>
                <c:pt idx="137">
                  <c:v>0.15068253313829705</c:v>
                </c:pt>
                <c:pt idx="138">
                  <c:v>0.18769802497444377</c:v>
                </c:pt>
                <c:pt idx="139">
                  <c:v>0.20291876810816634</c:v>
                </c:pt>
                <c:pt idx="140">
                  <c:v>0.22090127131327608</c:v>
                </c:pt>
                <c:pt idx="141">
                  <c:v>0.22840715911465548</c:v>
                </c:pt>
                <c:pt idx="142">
                  <c:v>0.22759952784633541</c:v>
                </c:pt>
                <c:pt idx="143">
                  <c:v>0.23283501166264742</c:v>
                </c:pt>
                <c:pt idx="144">
                  <c:v>0.23350144865328915</c:v>
                </c:pt>
                <c:pt idx="145">
                  <c:v>0.23339978877336054</c:v>
                </c:pt>
                <c:pt idx="146">
                  <c:v>0.22502414422148309</c:v>
                </c:pt>
                <c:pt idx="147">
                  <c:v>0.23120280581268604</c:v>
                </c:pt>
                <c:pt idx="148">
                  <c:v>0.20173838394677546</c:v>
                </c:pt>
                <c:pt idx="149">
                  <c:v>0.20814860415337089</c:v>
                </c:pt>
                <c:pt idx="150">
                  <c:v>0.2225673637898804</c:v>
                </c:pt>
                <c:pt idx="151">
                  <c:v>0.22458926584623384</c:v>
                </c:pt>
                <c:pt idx="152">
                  <c:v>0.21638305442757</c:v>
                </c:pt>
                <c:pt idx="153">
                  <c:v>0.20465828160916311</c:v>
                </c:pt>
                <c:pt idx="154">
                  <c:v>0.20927815837479735</c:v>
                </c:pt>
                <c:pt idx="155">
                  <c:v>0.20094769599177686</c:v>
                </c:pt>
                <c:pt idx="156">
                  <c:v>0.17766193571706923</c:v>
                </c:pt>
                <c:pt idx="157">
                  <c:v>0.22243181728330907</c:v>
                </c:pt>
                <c:pt idx="158">
                  <c:v>0.23228717786525555</c:v>
                </c:pt>
                <c:pt idx="159">
                  <c:v>0.2500494179971875</c:v>
                </c:pt>
                <c:pt idx="160">
                  <c:v>0.23796318782792358</c:v>
                </c:pt>
                <c:pt idx="161">
                  <c:v>0.27613082496992591</c:v>
                </c:pt>
                <c:pt idx="162">
                  <c:v>0.27530625038828438</c:v>
                </c:pt>
                <c:pt idx="163">
                  <c:v>0.27853677546156419</c:v>
                </c:pt>
                <c:pt idx="164">
                  <c:v>0.2644399387781613</c:v>
                </c:pt>
                <c:pt idx="165">
                  <c:v>0.28598618555187194</c:v>
                </c:pt>
                <c:pt idx="166">
                  <c:v>0.28466460711280295</c:v>
                </c:pt>
                <c:pt idx="167">
                  <c:v>0.28278389933412784</c:v>
                </c:pt>
                <c:pt idx="168">
                  <c:v>0.29598838818260376</c:v>
                </c:pt>
                <c:pt idx="169">
                  <c:v>0.29753022969485099</c:v>
                </c:pt>
                <c:pt idx="170">
                  <c:v>0.30808026612297468</c:v>
                </c:pt>
                <c:pt idx="171">
                  <c:v>0.32788135162458132</c:v>
                </c:pt>
                <c:pt idx="172">
                  <c:v>0.33701944527592209</c:v>
                </c:pt>
                <c:pt idx="173">
                  <c:v>0.34593162808297717</c:v>
                </c:pt>
                <c:pt idx="174">
                  <c:v>0.33999017287827371</c:v>
                </c:pt>
                <c:pt idx="175">
                  <c:v>0.34318116355380357</c:v>
                </c:pt>
                <c:pt idx="176">
                  <c:v>0.32382625196966019</c:v>
                </c:pt>
                <c:pt idx="177">
                  <c:v>0.3344101750244266</c:v>
                </c:pt>
                <c:pt idx="178">
                  <c:v>0.33035507536950548</c:v>
                </c:pt>
                <c:pt idx="179">
                  <c:v>0.3153376519956399</c:v>
                </c:pt>
                <c:pt idx="180">
                  <c:v>0.32648635216111965</c:v>
                </c:pt>
                <c:pt idx="181">
                  <c:v>0.34654158736254725</c:v>
                </c:pt>
                <c:pt idx="182">
                  <c:v>0.35506407396321049</c:v>
                </c:pt>
                <c:pt idx="183">
                  <c:v>0.35032559400432639</c:v>
                </c:pt>
                <c:pt idx="184">
                  <c:v>0.34514658789908581</c:v>
                </c:pt>
                <c:pt idx="185">
                  <c:v>0.3643998396033008</c:v>
                </c:pt>
                <c:pt idx="186">
                  <c:v>0.37753090742738404</c:v>
                </c:pt>
                <c:pt idx="187">
                  <c:v>0.37340803451917703</c:v>
                </c:pt>
                <c:pt idx="188">
                  <c:v>0.37418742693196139</c:v>
                </c:pt>
                <c:pt idx="189">
                  <c:v>0.3770960290521348</c:v>
                </c:pt>
                <c:pt idx="190">
                  <c:v>0.36868649787361418</c:v>
                </c:pt>
                <c:pt idx="191">
                  <c:v>0.36968615335957655</c:v>
                </c:pt>
                <c:pt idx="192">
                  <c:v>0.38893940506379154</c:v>
                </c:pt>
                <c:pt idx="193">
                  <c:v>0.39643399732295648</c:v>
                </c:pt>
                <c:pt idx="194">
                  <c:v>0.39618549539424275</c:v>
                </c:pt>
                <c:pt idx="195">
                  <c:v>0.39885689112791645</c:v>
                </c:pt>
                <c:pt idx="196">
                  <c:v>0.37880165592648884</c:v>
                </c:pt>
                <c:pt idx="197">
                  <c:v>0.36989512089054077</c:v>
                </c:pt>
                <c:pt idx="198">
                  <c:v>0.37977872032802273</c:v>
                </c:pt>
                <c:pt idx="199">
                  <c:v>0.39869875353691686</c:v>
                </c:pt>
                <c:pt idx="200">
                  <c:v>0.39015932362293215</c:v>
                </c:pt>
                <c:pt idx="201">
                  <c:v>0.4120726755186066</c:v>
                </c:pt>
                <c:pt idx="202">
                  <c:v>0.41319658196892584</c:v>
                </c:pt>
                <c:pt idx="203">
                  <c:v>0.42287686164655125</c:v>
                </c:pt>
                <c:pt idx="204">
                  <c:v>0.43980323165462765</c:v>
                </c:pt>
                <c:pt idx="205">
                  <c:v>0.44197197575976643</c:v>
                </c:pt>
                <c:pt idx="206">
                  <c:v>0.4544196632798867</c:v>
                </c:pt>
                <c:pt idx="207">
                  <c:v>0.45772925714866641</c:v>
                </c:pt>
                <c:pt idx="208">
                  <c:v>0.46155279818819528</c:v>
                </c:pt>
                <c:pt idx="209">
                  <c:v>0.45842393299484385</c:v>
                </c:pt>
                <c:pt idx="210">
                  <c:v>0.45647545196288286</c:v>
                </c:pt>
                <c:pt idx="211">
                  <c:v>0.46978724846239439</c:v>
                </c:pt>
                <c:pt idx="212">
                  <c:v>0.49226537746878196</c:v>
                </c:pt>
                <c:pt idx="213">
                  <c:v>0.49750650905620097</c:v>
                </c:pt>
                <c:pt idx="214">
                  <c:v>0.51123624061764028</c:v>
                </c:pt>
                <c:pt idx="215">
                  <c:v>0.51548901226131116</c:v>
                </c:pt>
                <c:pt idx="216">
                  <c:v>0.50999373097407119</c:v>
                </c:pt>
                <c:pt idx="217">
                  <c:v>0.54926833125307106</c:v>
                </c:pt>
                <c:pt idx="218">
                  <c:v>0.57360457695370526</c:v>
                </c:pt>
                <c:pt idx="219">
                  <c:v>0.58719311423746645</c:v>
                </c:pt>
                <c:pt idx="220">
                  <c:v>0.62253121805479461</c:v>
                </c:pt>
                <c:pt idx="221">
                  <c:v>0.5599878008144088</c:v>
                </c:pt>
                <c:pt idx="222">
                  <c:v>0.47946188036891257</c:v>
                </c:pt>
                <c:pt idx="223">
                  <c:v>0.54309531743297512</c:v>
                </c:pt>
                <c:pt idx="224">
                  <c:v>0.55161215626253113</c:v>
                </c:pt>
                <c:pt idx="225">
                  <c:v>0.51995639920705305</c:v>
                </c:pt>
                <c:pt idx="226">
                  <c:v>0.57379095340024078</c:v>
                </c:pt>
                <c:pt idx="227">
                  <c:v>0.55427225645399059</c:v>
                </c:pt>
                <c:pt idx="228">
                  <c:v>0.46179000457469477</c:v>
                </c:pt>
                <c:pt idx="229">
                  <c:v>0.49150292836931908</c:v>
                </c:pt>
                <c:pt idx="230">
                  <c:v>0.47094504153935657</c:v>
                </c:pt>
                <c:pt idx="231">
                  <c:v>0.50021743918762485</c:v>
                </c:pt>
                <c:pt idx="232">
                  <c:v>0.50803395439989618</c:v>
                </c:pt>
                <c:pt idx="233">
                  <c:v>0.50790405566443209</c:v>
                </c:pt>
                <c:pt idx="234">
                  <c:v>0.50423865221590303</c:v>
                </c:pt>
                <c:pt idx="235">
                  <c:v>0.5405538204347653</c:v>
                </c:pt>
                <c:pt idx="236">
                  <c:v>0.53222335805174481</c:v>
                </c:pt>
                <c:pt idx="237">
                  <c:v>0.53694489469730766</c:v>
                </c:pt>
                <c:pt idx="238">
                  <c:v>0.54445078249868684</c:v>
                </c:pt>
                <c:pt idx="239">
                  <c:v>0.56953253398546289</c:v>
                </c:pt>
                <c:pt idx="240">
                  <c:v>0.56988834356521201</c:v>
                </c:pt>
                <c:pt idx="241">
                  <c:v>0.55589316676173772</c:v>
                </c:pt>
                <c:pt idx="242">
                  <c:v>0.53527315444959656</c:v>
                </c:pt>
                <c:pt idx="243">
                  <c:v>0.55868316568866105</c:v>
                </c:pt>
                <c:pt idx="244">
                  <c:v>0.58211576801215403</c:v>
                </c:pt>
                <c:pt idx="245">
                  <c:v>0.58240945210972495</c:v>
                </c:pt>
                <c:pt idx="246">
                  <c:v>0.59200501522074322</c:v>
                </c:pt>
                <c:pt idx="247">
                  <c:v>0.60416466641439959</c:v>
                </c:pt>
                <c:pt idx="248">
                  <c:v>0.60017169224165712</c:v>
                </c:pt>
                <c:pt idx="249">
                  <c:v>0.60968818655717527</c:v>
                </c:pt>
                <c:pt idx="250">
                  <c:v>0.62355911239629291</c:v>
                </c:pt>
                <c:pt idx="251">
                  <c:v>0.6387120822767296</c:v>
                </c:pt>
                <c:pt idx="252">
                  <c:v>0.62185913329304587</c:v>
                </c:pt>
                <c:pt idx="253">
                  <c:v>0.64066621107979738</c:v>
                </c:pt>
                <c:pt idx="254">
                  <c:v>0.65461055794330791</c:v>
                </c:pt>
                <c:pt idx="255">
                  <c:v>0.6457492050762168</c:v>
                </c:pt>
                <c:pt idx="256">
                  <c:v>0.62970388736085314</c:v>
                </c:pt>
                <c:pt idx="257">
                  <c:v>0.56281168636797507</c:v>
                </c:pt>
                <c:pt idx="258">
                  <c:v>0.56317879148993866</c:v>
                </c:pt>
                <c:pt idx="259">
                  <c:v>0.50156725648222933</c:v>
                </c:pt>
                <c:pt idx="260">
                  <c:v>0.53792195909884177</c:v>
                </c:pt>
                <c:pt idx="261">
                  <c:v>0.57065079266467511</c:v>
                </c:pt>
                <c:pt idx="262">
                  <c:v>0.54538266473136376</c:v>
                </c:pt>
                <c:pt idx="263">
                  <c:v>0.48680963057929194</c:v>
                </c:pt>
                <c:pt idx="264">
                  <c:v>0.55888083767741081</c:v>
                </c:pt>
                <c:pt idx="265">
                  <c:v>0.48710331467686285</c:v>
                </c:pt>
                <c:pt idx="266">
                  <c:v>0.4683922489989325</c:v>
                </c:pt>
                <c:pt idx="267">
                  <c:v>0.36485166129187108</c:v>
                </c:pt>
                <c:pt idx="268">
                  <c:v>0.40388905518437146</c:v>
                </c:pt>
                <c:pt idx="269">
                  <c:v>0.42998175769932412</c:v>
                </c:pt>
                <c:pt idx="270">
                  <c:v>0.46630822146040085</c:v>
                </c:pt>
                <c:pt idx="271">
                  <c:v>0.50835587735300281</c:v>
                </c:pt>
                <c:pt idx="272">
                  <c:v>0.5049954535442589</c:v>
                </c:pt>
                <c:pt idx="273">
                  <c:v>0.52858619345875169</c:v>
                </c:pt>
                <c:pt idx="274">
                  <c:v>0.52934864255821457</c:v>
                </c:pt>
                <c:pt idx="275">
                  <c:v>0.56759534849571613</c:v>
                </c:pt>
                <c:pt idx="276">
                  <c:v>0.5772360937755916</c:v>
                </c:pt>
                <c:pt idx="277">
                  <c:v>0.58345993753565173</c:v>
                </c:pt>
                <c:pt idx="278">
                  <c:v>0.5492231490842141</c:v>
                </c:pt>
                <c:pt idx="279">
                  <c:v>0.59407209944595385</c:v>
                </c:pt>
                <c:pt idx="280">
                  <c:v>0.58177690174572616</c:v>
                </c:pt>
                <c:pt idx="281">
                  <c:v>0.6008042426056559</c:v>
                </c:pt>
                <c:pt idx="282">
                  <c:v>0.63375333924466704</c:v>
                </c:pt>
                <c:pt idx="283">
                  <c:v>0.64203861945883056</c:v>
                </c:pt>
                <c:pt idx="284">
                  <c:v>0.64069444993533331</c:v>
                </c:pt>
                <c:pt idx="285">
                  <c:v>0.6603769322436901</c:v>
                </c:pt>
                <c:pt idx="286">
                  <c:v>0.66363004840139839</c:v>
                </c:pt>
                <c:pt idx="287">
                  <c:v>0.62734876680917884</c:v>
                </c:pt>
                <c:pt idx="288">
                  <c:v>0.61499709139787995</c:v>
                </c:pt>
                <c:pt idx="289">
                  <c:v>0.59609400150230707</c:v>
                </c:pt>
                <c:pt idx="290">
                  <c:v>0.55430049530952608</c:v>
                </c:pt>
                <c:pt idx="291">
                  <c:v>0.62279666329683003</c:v>
                </c:pt>
                <c:pt idx="292">
                  <c:v>0.63050022308695874</c:v>
                </c:pt>
                <c:pt idx="293">
                  <c:v>0.6663522740750365</c:v>
                </c:pt>
                <c:pt idx="294">
                  <c:v>0.66143871321183112</c:v>
                </c:pt>
                <c:pt idx="295">
                  <c:v>0.68891511964803098</c:v>
                </c:pt>
                <c:pt idx="296">
                  <c:v>0.70210831295429266</c:v>
                </c:pt>
                <c:pt idx="297">
                  <c:v>0.68112119552018813</c:v>
                </c:pt>
                <c:pt idx="298">
                  <c:v>0.70893646822281609</c:v>
                </c:pt>
                <c:pt idx="299">
                  <c:v>0.65595472746680539</c:v>
                </c:pt>
                <c:pt idx="300">
                  <c:v>0.64838671418324778</c:v>
                </c:pt>
                <c:pt idx="301">
                  <c:v>0.63146034417517116</c:v>
                </c:pt>
                <c:pt idx="302">
                  <c:v>0.60798255968282144</c:v>
                </c:pt>
                <c:pt idx="303">
                  <c:v>0.65279762341791825</c:v>
                </c:pt>
                <c:pt idx="304">
                  <c:v>0.68230722745268602</c:v>
                </c:pt>
                <c:pt idx="305">
                  <c:v>0.69850503498794203</c:v>
                </c:pt>
                <c:pt idx="306">
                  <c:v>0.68985264965181514</c:v>
                </c:pt>
                <c:pt idx="307">
                  <c:v>0.67275119873941747</c:v>
                </c:pt>
                <c:pt idx="308">
                  <c:v>0.667227678596642</c:v>
                </c:pt>
                <c:pt idx="309">
                  <c:v>0.67754050863826598</c:v>
                </c:pt>
                <c:pt idx="310">
                  <c:v>0.68653740801192797</c:v>
                </c:pt>
                <c:pt idx="311">
                  <c:v>0.70706705598635522</c:v>
                </c:pt>
                <c:pt idx="312">
                  <c:v>0.73212056861759511</c:v>
                </c:pt>
                <c:pt idx="313">
                  <c:v>0.74690078560496098</c:v>
                </c:pt>
                <c:pt idx="314">
                  <c:v>0.76236438289629005</c:v>
                </c:pt>
                <c:pt idx="315">
                  <c:v>0.75662059968033613</c:v>
                </c:pt>
                <c:pt idx="316">
                  <c:v>0.77395360920812606</c:v>
                </c:pt>
                <c:pt idx="317">
                  <c:v>0.77673796036394238</c:v>
                </c:pt>
                <c:pt idx="318">
                  <c:v>0.78966570842816908</c:v>
                </c:pt>
                <c:pt idx="319">
                  <c:v>0.81927132457175778</c:v>
                </c:pt>
                <c:pt idx="320">
                  <c:v>0.82988913425316713</c:v>
                </c:pt>
                <c:pt idx="321">
                  <c:v>0.82696923659077948</c:v>
                </c:pt>
                <c:pt idx="322">
                  <c:v>0.8441949384675338</c:v>
                </c:pt>
                <c:pt idx="323">
                  <c:v>0.88049316337307482</c:v>
                </c:pt>
                <c:pt idx="324">
                  <c:v>0.8612060250422171</c:v>
                </c:pt>
                <c:pt idx="325">
                  <c:v>0.82169986614782475</c:v>
                </c:pt>
                <c:pt idx="326">
                  <c:v>0.87941443909161254</c:v>
                </c:pt>
                <c:pt idx="327">
                  <c:v>0.90903699854852293</c:v>
                </c:pt>
                <c:pt idx="328">
                  <c:v>0.88508480128317379</c:v>
                </c:pt>
                <c:pt idx="329">
                  <c:v>0.6684758360113181</c:v>
                </c:pt>
                <c:pt idx="330">
                  <c:v>0.67872654057076387</c:v>
                </c:pt>
                <c:pt idx="331">
                  <c:v>0.53112204268585406</c:v>
                </c:pt>
                <c:pt idx="332">
                  <c:v>0.3017660580252004</c:v>
                </c:pt>
                <c:pt idx="333">
                  <c:v>0.43536408356442124</c:v>
                </c:pt>
                <c:pt idx="334">
                  <c:v>0.4055325565765473</c:v>
                </c:pt>
                <c:pt idx="335">
                  <c:v>0.57562647901005892</c:v>
                </c:pt>
                <c:pt idx="336">
                  <c:v>0.62348569137190024</c:v>
                </c:pt>
                <c:pt idx="337">
                  <c:v>0.60212582104472467</c:v>
                </c:pt>
                <c:pt idx="338">
                  <c:v>0.59872021506712381</c:v>
                </c:pt>
                <c:pt idx="339">
                  <c:v>0.65468397896770059</c:v>
                </c:pt>
                <c:pt idx="340">
                  <c:v>0.61735221194955403</c:v>
                </c:pt>
                <c:pt idx="341">
                  <c:v>0.66917051185749532</c:v>
                </c:pt>
                <c:pt idx="342">
                  <c:v>0.71935660591547546</c:v>
                </c:pt>
                <c:pt idx="343">
                  <c:v>0.8038585572203929</c:v>
                </c:pt>
                <c:pt idx="344">
                  <c:v>0.71766227458333565</c:v>
                </c:pt>
                <c:pt idx="345">
                  <c:v>0.74953264694088473</c:v>
                </c:pt>
                <c:pt idx="346">
                  <c:v>0.69944256499172619</c:v>
                </c:pt>
                <c:pt idx="347">
                  <c:v>0.76775800430360186</c:v>
                </c:pt>
                <c:pt idx="348">
                  <c:v>0.79883768870615213</c:v>
                </c:pt>
                <c:pt idx="349">
                  <c:v>0.82125369223036149</c:v>
                </c:pt>
                <c:pt idx="350">
                  <c:v>0.81611422052287086</c:v>
                </c:pt>
                <c:pt idx="351">
                  <c:v>0.84745370239634932</c:v>
                </c:pt>
                <c:pt idx="352">
                  <c:v>0.89272623559112407</c:v>
                </c:pt>
                <c:pt idx="353">
                  <c:v>0.90490847786920892</c:v>
                </c:pt>
                <c:pt idx="354">
                  <c:v>0.91863820943064822</c:v>
                </c:pt>
                <c:pt idx="355">
                  <c:v>0.98124375215321291</c:v>
                </c:pt>
                <c:pt idx="356">
                  <c:v>0.93546856732990347</c:v>
                </c:pt>
                <c:pt idx="357">
                  <c:v>0.88690338357967025</c:v>
                </c:pt>
                <c:pt idx="358">
                  <c:v>0.87476067569933535</c:v>
                </c:pt>
                <c:pt idx="359">
                  <c:v>0.8628947086032499</c:v>
                </c:pt>
                <c:pt idx="360">
                  <c:v>0.89112226859669841</c:v>
                </c:pt>
                <c:pt idx="361">
                  <c:v>0.96380343497438759</c:v>
                </c:pt>
                <c:pt idx="362">
                  <c:v>0.96757614607395204</c:v>
                </c:pt>
                <c:pt idx="363">
                  <c:v>0.95717295169461369</c:v>
                </c:pt>
                <c:pt idx="364">
                  <c:v>0.84679856094792205</c:v>
                </c:pt>
                <c:pt idx="365">
                  <c:v>0.98205138342153275</c:v>
                </c:pt>
                <c:pt idx="366">
                  <c:v>1.0248106584736334</c:v>
                </c:pt>
                <c:pt idx="367">
                  <c:v>1.0092171624468405</c:v>
                </c:pt>
                <c:pt idx="368">
                  <c:v>1.0548568007635786</c:v>
                </c:pt>
                <c:pt idx="369">
                  <c:v>1.0891783057816236</c:v>
                </c:pt>
                <c:pt idx="370">
                  <c:v>1.0690383540135886</c:v>
                </c:pt>
                <c:pt idx="371">
                  <c:v>1.0949898622508627</c:v>
                </c:pt>
                <c:pt idx="372">
                  <c:v>1.0914035275978335</c:v>
                </c:pt>
                <c:pt idx="373">
                  <c:v>1.1213423622367436</c:v>
                </c:pt>
                <c:pt idx="374">
                  <c:v>1.16009171980278</c:v>
                </c:pt>
                <c:pt idx="375">
                  <c:v>1.1282213474452307</c:v>
                </c:pt>
                <c:pt idx="376">
                  <c:v>1.1695743274916555</c:v>
                </c:pt>
                <c:pt idx="377">
                  <c:v>1.0977177356956078</c:v>
                </c:pt>
                <c:pt idx="378">
                  <c:v>1.1951926172336087</c:v>
                </c:pt>
                <c:pt idx="379">
                  <c:v>1.2223019185478452</c:v>
                </c:pt>
                <c:pt idx="380">
                  <c:v>1.2064203861945884</c:v>
                </c:pt>
                <c:pt idx="381">
                  <c:v>1.1524502854948295</c:v>
                </c:pt>
                <c:pt idx="382">
                  <c:v>1.1698397727336909</c:v>
                </c:pt>
                <c:pt idx="383">
                  <c:v>1.227108171760015</c:v>
                </c:pt>
                <c:pt idx="384">
                  <c:v>1.210029311932046</c:v>
                </c:pt>
                <c:pt idx="385">
                  <c:v>1.2447292176142688</c:v>
                </c:pt>
                <c:pt idx="386">
                  <c:v>1.2703305640429003</c:v>
                </c:pt>
                <c:pt idx="387">
                  <c:v>1.3318517347128958</c:v>
                </c:pt>
                <c:pt idx="388">
                  <c:v>1.3638576535770159</c:v>
                </c:pt>
                <c:pt idx="389">
                  <c:v>1.3608643348902358</c:v>
                </c:pt>
                <c:pt idx="390">
                  <c:v>1.3614291120009492</c:v>
                </c:pt>
                <c:pt idx="391">
                  <c:v>1.3904755988049318</c:v>
                </c:pt>
                <c:pt idx="392">
                  <c:v>1.3572949435505279</c:v>
                </c:pt>
                <c:pt idx="393">
                  <c:v>1.3471346033287963</c:v>
                </c:pt>
                <c:pt idx="394">
                  <c:v>1.3743850989207109</c:v>
                </c:pt>
                <c:pt idx="395">
                  <c:v>1.3889450528348992</c:v>
                </c:pt>
                <c:pt idx="396">
                  <c:v>1.3988568911279162</c:v>
                </c:pt>
                <c:pt idx="397">
                  <c:v>1.3531155929312497</c:v>
                </c:pt>
                <c:pt idx="398">
                  <c:v>1.4176413778302392</c:v>
                </c:pt>
                <c:pt idx="399">
                  <c:v>1.4581020100417375</c:v>
                </c:pt>
                <c:pt idx="400">
                  <c:v>1.4678218241171126</c:v>
                </c:pt>
                <c:pt idx="401">
                  <c:v>1.4438809223939773</c:v>
                </c:pt>
                <c:pt idx="402">
                  <c:v>1.4916780092736404</c:v>
                </c:pt>
                <c:pt idx="403">
                  <c:v>1.4823422436335503</c:v>
                </c:pt>
                <c:pt idx="404">
                  <c:v>1.5056449472215796</c:v>
                </c:pt>
                <c:pt idx="405">
                  <c:v>1.5234241306668324</c:v>
                </c:pt>
                <c:pt idx="406">
                  <c:v>1.5085535493417526</c:v>
                </c:pt>
                <c:pt idx="407">
                  <c:v>1.5467889597370399</c:v>
                </c:pt>
                <c:pt idx="408">
                  <c:v>1.5615070512422276</c:v>
                </c:pt>
                <c:pt idx="409">
                  <c:v>1.5181039302839134</c:v>
                </c:pt>
                <c:pt idx="410">
                  <c:v>1.5036512840207612</c:v>
                </c:pt>
                <c:pt idx="411">
                  <c:v>1.5163531212407024</c:v>
                </c:pt>
                <c:pt idx="412">
                  <c:v>1.4607564624620895</c:v>
                </c:pt>
                <c:pt idx="413">
                  <c:v>1.4801283173595543</c:v>
                </c:pt>
                <c:pt idx="414">
                  <c:v>1.5253274295299359</c:v>
                </c:pt>
                <c:pt idx="415">
                  <c:v>1.5668554904806817</c:v>
                </c:pt>
                <c:pt idx="416">
                  <c:v>1.6010132101366197</c:v>
                </c:pt>
                <c:pt idx="417">
                  <c:v>1.6530574208888464</c:v>
                </c:pt>
                <c:pt idx="418">
                  <c:v>1.6447664929035759</c:v>
                </c:pt>
                <c:pt idx="419">
                  <c:v>1.6533002750464529</c:v>
                </c:pt>
                <c:pt idx="420">
                  <c:v>1.5949362084253451</c:v>
                </c:pt>
                <c:pt idx="421">
                  <c:v>1.5632013825743671</c:v>
                </c:pt>
                <c:pt idx="422">
                  <c:v>1.6612410412230818</c:v>
                </c:pt>
                <c:pt idx="423">
                  <c:v>1.6096317088461043</c:v>
                </c:pt>
                <c:pt idx="424">
                  <c:v>1.6690180220376032</c:v>
                </c:pt>
                <c:pt idx="425">
                  <c:v>1.6918293695393118</c:v>
                </c:pt>
                <c:pt idx="426">
                  <c:v>1.6414794901192247</c:v>
                </c:pt>
                <c:pt idx="427">
                  <c:v>1.6334709506893108</c:v>
                </c:pt>
                <c:pt idx="428">
                  <c:v>1.4838558462902616</c:v>
                </c:pt>
                <c:pt idx="429">
                  <c:v>1.5030074381145484</c:v>
                </c:pt>
                <c:pt idx="430">
                  <c:v>1.5417963300783346</c:v>
                </c:pt>
                <c:pt idx="431">
                  <c:v>1.4955467324820262</c:v>
                </c:pt>
                <c:pt idx="432">
                  <c:v>1.456142233467562</c:v>
                </c:pt>
                <c:pt idx="433">
                  <c:v>1.4763499584888824</c:v>
                </c:pt>
                <c:pt idx="434">
                  <c:v>1.4448466912532969</c:v>
                </c:pt>
                <c:pt idx="435">
                  <c:v>1.3744980543428538</c:v>
                </c:pt>
                <c:pt idx="436">
                  <c:v>1.5206680183665515</c:v>
                </c:pt>
                <c:pt idx="437">
                  <c:v>1.5658163005969699</c:v>
                </c:pt>
                <c:pt idx="438">
                  <c:v>1.5673976765069666</c:v>
                </c:pt>
                <c:pt idx="439">
                  <c:v>1.5348778104720973</c:v>
                </c:pt>
                <c:pt idx="440">
                  <c:v>1.4808342887479458</c:v>
                </c:pt>
                <c:pt idx="441">
                  <c:v>1.412603566002677</c:v>
                </c:pt>
                <c:pt idx="442">
                  <c:v>1.3336194870694285</c:v>
                </c:pt>
                <c:pt idx="443">
                  <c:v>1.3287680516884013</c:v>
                </c:pt>
                <c:pt idx="444">
                  <c:v>1.2726009680279677</c:v>
                </c:pt>
                <c:pt idx="445">
                  <c:v>1.2033988286522725</c:v>
                </c:pt>
                <c:pt idx="446">
                  <c:v>1.3484787728522938</c:v>
                </c:pt>
                <c:pt idx="447">
                  <c:v>1.3204093504498449</c:v>
                </c:pt>
                <c:pt idx="448">
                  <c:v>1.2031164400969159</c:v>
                </c:pt>
                <c:pt idx="449">
                  <c:v>1.0754655175335057</c:v>
                </c:pt>
                <c:pt idx="450">
                  <c:v>1.2092612150614759</c:v>
                </c:pt>
                <c:pt idx="451">
                  <c:v>1.1604588249247434</c:v>
                </c:pt>
                <c:pt idx="452">
                  <c:v>1.2022805699730603</c:v>
                </c:pt>
                <c:pt idx="453">
                  <c:v>1.1818243430230262</c:v>
                </c:pt>
                <c:pt idx="454">
                  <c:v>1.2374379451149604</c:v>
                </c:pt>
                <c:pt idx="455">
                  <c:v>1.3326932526078585</c:v>
                </c:pt>
                <c:pt idx="456">
                  <c:v>1.3411084315574859</c:v>
                </c:pt>
                <c:pt idx="457">
                  <c:v>1.4173307504193469</c:v>
                </c:pt>
                <c:pt idx="458">
                  <c:v>1.388148717108793</c:v>
                </c:pt>
                <c:pt idx="459">
                  <c:v>1.2916734910567547</c:v>
                </c:pt>
                <c:pt idx="460">
                  <c:v>1.2163322244876063</c:v>
                </c:pt>
                <c:pt idx="461">
                  <c:v>1.2971518290306734</c:v>
                </c:pt>
                <c:pt idx="462">
                  <c:v>1.1875681262389799</c:v>
                </c:pt>
                <c:pt idx="463">
                  <c:v>1.0858517685995221</c:v>
                </c:pt>
                <c:pt idx="464">
                  <c:v>1.0250761037156688</c:v>
                </c:pt>
                <c:pt idx="465">
                  <c:v>1.055596658778613</c:v>
                </c:pt>
                <c:pt idx="466">
                  <c:v>1.0236359220833502</c:v>
                </c:pt>
                <c:pt idx="467">
                  <c:v>1.1194673022291752</c:v>
                </c:pt>
                <c:pt idx="468">
                  <c:v>1.2032293955190583</c:v>
                </c:pt>
                <c:pt idx="469">
                  <c:v>1.1295203347998712</c:v>
                </c:pt>
                <c:pt idx="470">
                  <c:v>1.2551154686802852</c:v>
                </c:pt>
                <c:pt idx="471">
                  <c:v>1.2395332681957067</c:v>
                </c:pt>
                <c:pt idx="472">
                  <c:v>1.2738604209848585</c:v>
                </c:pt>
                <c:pt idx="473">
                  <c:v>1.2996029616911686</c:v>
                </c:pt>
                <c:pt idx="474">
                  <c:v>1.2220477688480242</c:v>
                </c:pt>
                <c:pt idx="475">
                  <c:v>1.1757247502273231</c:v>
                </c:pt>
                <c:pt idx="476">
                  <c:v>1.171466330812545</c:v>
                </c:pt>
                <c:pt idx="477">
                  <c:v>1.1684617165835505</c:v>
                </c:pt>
                <c:pt idx="478">
                  <c:v>1.1998520283969931</c:v>
                </c:pt>
                <c:pt idx="479">
                  <c:v>1.2585944956822792</c:v>
                </c:pt>
                <c:pt idx="480">
                  <c:v>1.2436391977905923</c:v>
                </c:pt>
                <c:pt idx="481">
                  <c:v>1.2989591157849554</c:v>
                </c:pt>
                <c:pt idx="482">
                  <c:v>1.3361892229231733</c:v>
                </c:pt>
                <c:pt idx="483">
                  <c:v>1.3101981802881495</c:v>
                </c:pt>
                <c:pt idx="484">
                  <c:v>1.3037766645393396</c:v>
                </c:pt>
                <c:pt idx="485">
                  <c:v>1.2421877206160592</c:v>
                </c:pt>
                <c:pt idx="486">
                  <c:v>1.284884870185981</c:v>
                </c:pt>
                <c:pt idx="487">
                  <c:v>1.1809376429592064</c:v>
                </c:pt>
                <c:pt idx="488">
                  <c:v>1.2120286229039712</c:v>
                </c:pt>
                <c:pt idx="489">
                  <c:v>1.2427242588712364</c:v>
                </c:pt>
                <c:pt idx="490">
                  <c:v>1.3208442288250946</c:v>
                </c:pt>
                <c:pt idx="491">
                  <c:v>1.3184213350201346</c:v>
                </c:pt>
                <c:pt idx="492">
                  <c:v>1.336844364371601</c:v>
                </c:pt>
                <c:pt idx="493">
                  <c:v>1.3345174826754627</c:v>
                </c:pt>
                <c:pt idx="494">
                  <c:v>1.3548268675767106</c:v>
                </c:pt>
                <c:pt idx="495">
                  <c:v>1.3360593241877097</c:v>
                </c:pt>
                <c:pt idx="496">
                  <c:v>1.3291859867503293</c:v>
                </c:pt>
                <c:pt idx="497">
                  <c:v>1.367534352567759</c:v>
                </c:pt>
                <c:pt idx="498">
                  <c:v>1.3751419002490666</c:v>
                </c:pt>
                <c:pt idx="499">
                  <c:v>1.4185845556051304</c:v>
                </c:pt>
                <c:pt idx="500">
                  <c:v>1.427897730160792</c:v>
                </c:pt>
                <c:pt idx="501">
                  <c:v>1.4904354996300713</c:v>
                </c:pt>
                <c:pt idx="502">
                  <c:v>1.4558372538277768</c:v>
                </c:pt>
                <c:pt idx="503">
                  <c:v>1.5134727579760647</c:v>
                </c:pt>
                <c:pt idx="504">
                  <c:v>1.4844262711720821</c:v>
                </c:pt>
                <c:pt idx="505">
                  <c:v>1.5445580901497227</c:v>
                </c:pt>
                <c:pt idx="506">
                  <c:v>1.5620209984129767</c:v>
                </c:pt>
                <c:pt idx="507">
                  <c:v>1.5879386200236074</c:v>
                </c:pt>
                <c:pt idx="508">
                  <c:v>1.5290888450872862</c:v>
                </c:pt>
                <c:pt idx="509">
                  <c:v>1.5211932610795151</c:v>
                </c:pt>
                <c:pt idx="510">
                  <c:v>1.4679121884548265</c:v>
                </c:pt>
                <c:pt idx="511">
                  <c:v>1.4882441644405038</c:v>
                </c:pt>
                <c:pt idx="512">
                  <c:v>1.5504035332456052</c:v>
                </c:pt>
                <c:pt idx="513">
                  <c:v>1.5174883232332359</c:v>
                </c:pt>
                <c:pt idx="514">
                  <c:v>1.5134388713494218</c:v>
                </c:pt>
                <c:pt idx="515">
                  <c:v>1.4398710049079133</c:v>
                </c:pt>
                <c:pt idx="516">
                  <c:v>1.4217924895939822</c:v>
                </c:pt>
                <c:pt idx="517">
                  <c:v>1.4333421815080678</c:v>
                </c:pt>
                <c:pt idx="518">
                  <c:v>1.4442310842026194</c:v>
                </c:pt>
                <c:pt idx="519">
                  <c:v>1.3857088799905117</c:v>
                </c:pt>
                <c:pt idx="520">
                  <c:v>1.3253963323374429</c:v>
                </c:pt>
                <c:pt idx="521">
                  <c:v>1.4614906727060166</c:v>
                </c:pt>
              </c:numCache>
            </c:numRef>
          </c:val>
          <c:smooth val="0"/>
          <c:extLst>
            <c:ext xmlns:c16="http://schemas.microsoft.com/office/drawing/2014/chart" uri="{C3380CC4-5D6E-409C-BE32-E72D297353CC}">
              <c16:uniqueId val="{00000001-EF21-684C-8F47-470F32FBF1FC}"/>
            </c:ext>
          </c:extLst>
        </c:ser>
        <c:dLbls>
          <c:showLegendKey val="0"/>
          <c:showVal val="0"/>
          <c:showCatName val="0"/>
          <c:showSerName val="0"/>
          <c:showPercent val="0"/>
          <c:showBubbleSize val="0"/>
        </c:dLbls>
        <c:smooth val="0"/>
        <c:axId val="671106736"/>
        <c:axId val="671108416"/>
      </c:lineChart>
      <c:dateAx>
        <c:axId val="671106736"/>
        <c:scaling>
          <c:orientation val="minMax"/>
          <c:max val="45238"/>
        </c:scaling>
        <c:delete val="0"/>
        <c:axPos val="b"/>
        <c:numFmt formatCode="[$-409]mmm\-yy;@"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8416"/>
        <c:crossesAt val="-1"/>
        <c:auto val="1"/>
        <c:lblOffset val="100"/>
        <c:baseTimeUnit val="days"/>
        <c:majorUnit val="12"/>
        <c:majorTimeUnit val="months"/>
      </c:dateAx>
      <c:valAx>
        <c:axId val="671108416"/>
        <c:scaling>
          <c:orientation val="minMax"/>
          <c:max val="1.7"/>
          <c:min val="-0.8"/>
        </c:scaling>
        <c:delete val="0"/>
        <c:axPos val="r"/>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6736"/>
        <c:crosses val="max"/>
        <c:crossBetween val="between"/>
        <c:majorUnit val="0.4"/>
      </c:valAx>
      <c:spPr>
        <a:noFill/>
        <a:ln>
          <a:noFill/>
        </a:ln>
        <a:effectLst/>
      </c:spPr>
    </c:plotArea>
    <c:legend>
      <c:legendPos val="t"/>
      <c:layout>
        <c:manualLayout>
          <c:xMode val="edge"/>
          <c:yMode val="edge"/>
          <c:x val="8.2278600146198866E-2"/>
          <c:y val="4.483278606347546E-2"/>
          <c:w val="0.42274766777091832"/>
          <c:h val="8.2853283236715342E-2"/>
        </c:manualLayout>
      </c:layout>
      <c:overlay val="0"/>
      <c:spPr>
        <a:solidFill>
          <a:schemeClr val="bg1">
            <a:lumMod val="95000"/>
          </a:schemeClr>
        </a:solid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A</c:v>
                </c:pt>
              </c:strCache>
            </c:strRef>
          </c:tx>
          <c:spPr>
            <a:ln w="28575" cap="rnd">
              <a:solidFill>
                <a:srgbClr val="9FBE60"/>
              </a:solidFill>
              <a:round/>
            </a:ln>
            <a:effectLst/>
          </c:spPr>
          <c:marker>
            <c:symbol val="none"/>
          </c:marker>
          <c:cat>
            <c:numRef>
              <c:f>Hoja1!$A$2:$A$13</c:f>
              <c:numCache>
                <c:formatCode>m/d/yy</c:formatCode>
                <c:ptCount val="12"/>
                <c:pt idx="0">
                  <c:v>43427</c:v>
                </c:pt>
                <c:pt idx="1">
                  <c:v>43462</c:v>
                </c:pt>
                <c:pt idx="2">
                  <c:v>43607</c:v>
                </c:pt>
                <c:pt idx="3">
                  <c:v>43781</c:v>
                </c:pt>
                <c:pt idx="4">
                  <c:v>44035</c:v>
                </c:pt>
                <c:pt idx="5">
                  <c:v>44301</c:v>
                </c:pt>
                <c:pt idx="6">
                  <c:v>44425</c:v>
                </c:pt>
                <c:pt idx="7">
                  <c:v>44532</c:v>
                </c:pt>
                <c:pt idx="8">
                  <c:v>44665</c:v>
                </c:pt>
                <c:pt idx="9">
                  <c:v>44705</c:v>
                </c:pt>
                <c:pt idx="10">
                  <c:v>44785</c:v>
                </c:pt>
                <c:pt idx="11">
                  <c:v>44887</c:v>
                </c:pt>
              </c:numCache>
            </c:numRef>
          </c:cat>
          <c:val>
            <c:numRef>
              <c:f>Hoja1!$B$2:$B$13</c:f>
              <c:numCache>
                <c:formatCode>0.00%</c:formatCode>
                <c:ptCount val="12"/>
                <c:pt idx="0">
                  <c:v>1.6500000000000001E-2</c:v>
                </c:pt>
                <c:pt idx="1">
                  <c:v>1.35E-2</c:v>
                </c:pt>
                <c:pt idx="2">
                  <c:v>3.6799999999999999E-2</c:v>
                </c:pt>
                <c:pt idx="3">
                  <c:v>1.1900000000000001E-2</c:v>
                </c:pt>
                <c:pt idx="4">
                  <c:v>4.1599999999999998E-2</c:v>
                </c:pt>
                <c:pt idx="5">
                  <c:v>0.4073</c:v>
                </c:pt>
                <c:pt idx="6">
                  <c:v>0.66959999999999997</c:v>
                </c:pt>
                <c:pt idx="7">
                  <c:v>0.73980000000000001</c:v>
                </c:pt>
                <c:pt idx="8">
                  <c:v>0.52239999999999998</c:v>
                </c:pt>
                <c:pt idx="9">
                  <c:v>0.45440000000000003</c:v>
                </c:pt>
                <c:pt idx="10">
                  <c:v>0.42299999999999999</c:v>
                </c:pt>
                <c:pt idx="11">
                  <c:v>0.35849999999999999</c:v>
                </c:pt>
              </c:numCache>
            </c:numRef>
          </c:val>
          <c:smooth val="0"/>
          <c:extLst>
            <c:ext xmlns:c16="http://schemas.microsoft.com/office/drawing/2014/chart" uri="{C3380CC4-5D6E-409C-BE32-E72D297353CC}">
              <c16:uniqueId val="{00000000-A882-614B-8629-6D937041D85F}"/>
            </c:ext>
          </c:extLst>
        </c:ser>
        <c:dLbls>
          <c:showLegendKey val="0"/>
          <c:showVal val="0"/>
          <c:showCatName val="0"/>
          <c:showSerName val="0"/>
          <c:showPercent val="0"/>
          <c:showBubbleSize val="0"/>
        </c:dLbls>
        <c:smooth val="0"/>
        <c:axId val="671106736"/>
        <c:axId val="671108416"/>
      </c:lineChart>
      <c:dateAx>
        <c:axId val="671106736"/>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8416"/>
        <c:crosses val="autoZero"/>
        <c:auto val="1"/>
        <c:lblOffset val="100"/>
        <c:baseTimeUnit val="months"/>
      </c:dateAx>
      <c:valAx>
        <c:axId val="6711084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6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A</c:v>
                </c:pt>
              </c:strCache>
            </c:strRef>
          </c:tx>
          <c:spPr>
            <a:ln w="28575" cap="rnd">
              <a:solidFill>
                <a:schemeClr val="accent2"/>
              </a:solidFill>
              <a:round/>
            </a:ln>
            <a:effectLst/>
          </c:spPr>
          <c:marker>
            <c:symbol val="none"/>
          </c:marker>
          <c:cat>
            <c:numRef>
              <c:f>Hoja1!$A$2:$A$8</c:f>
              <c:numCache>
                <c:formatCode>m/d/yy</c:formatCode>
                <c:ptCount val="7"/>
                <c:pt idx="0">
                  <c:v>43578</c:v>
                </c:pt>
                <c:pt idx="1">
                  <c:v>43825</c:v>
                </c:pt>
                <c:pt idx="2">
                  <c:v>43942</c:v>
                </c:pt>
                <c:pt idx="3">
                  <c:v>44306</c:v>
                </c:pt>
                <c:pt idx="4">
                  <c:v>44670</c:v>
                </c:pt>
                <c:pt idx="5">
                  <c:v>44740</c:v>
                </c:pt>
                <c:pt idx="6">
                  <c:v>45041</c:v>
                </c:pt>
              </c:numCache>
            </c:numRef>
          </c:cat>
          <c:val>
            <c:numRef>
              <c:f>Hoja1!$B$2:$B$8</c:f>
              <c:numCache>
                <c:formatCode>0.00%</c:formatCode>
                <c:ptCount val="7"/>
                <c:pt idx="0">
                  <c:v>0.1479</c:v>
                </c:pt>
                <c:pt idx="1">
                  <c:v>7.0499999999999993E-2</c:v>
                </c:pt>
                <c:pt idx="2">
                  <c:v>0.10970000000000001</c:v>
                </c:pt>
                <c:pt idx="3">
                  <c:v>0.1273</c:v>
                </c:pt>
                <c:pt idx="4">
                  <c:v>0.17810000000000001</c:v>
                </c:pt>
                <c:pt idx="5">
                  <c:v>0.14710000000000001</c:v>
                </c:pt>
                <c:pt idx="6">
                  <c:v>0.1686</c:v>
                </c:pt>
              </c:numCache>
            </c:numRef>
          </c:val>
          <c:smooth val="0"/>
          <c:extLst>
            <c:ext xmlns:c16="http://schemas.microsoft.com/office/drawing/2014/chart" uri="{C3380CC4-5D6E-409C-BE32-E72D297353CC}">
              <c16:uniqueId val="{00000000-DC62-3B44-B2CC-EA1893207FDA}"/>
            </c:ext>
          </c:extLst>
        </c:ser>
        <c:dLbls>
          <c:showLegendKey val="0"/>
          <c:showVal val="0"/>
          <c:showCatName val="0"/>
          <c:showSerName val="0"/>
          <c:showPercent val="0"/>
          <c:showBubbleSize val="0"/>
        </c:dLbls>
        <c:smooth val="0"/>
        <c:axId val="671106736"/>
        <c:axId val="671108416"/>
      </c:lineChart>
      <c:dateAx>
        <c:axId val="671106736"/>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8416"/>
        <c:crosses val="autoZero"/>
        <c:auto val="1"/>
        <c:lblOffset val="100"/>
        <c:baseTimeUnit val="months"/>
      </c:dateAx>
      <c:valAx>
        <c:axId val="6711084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6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Pemex 5.95 31</c:v>
                </c:pt>
              </c:strCache>
            </c:strRef>
          </c:tx>
          <c:spPr>
            <a:ln w="28575" cap="rnd">
              <a:solidFill>
                <a:schemeClr val="tx2"/>
              </a:solidFill>
              <a:round/>
            </a:ln>
            <a:effectLst/>
          </c:spPr>
          <c:marker>
            <c:symbol val="none"/>
          </c:marker>
          <c:dLbls>
            <c:dLbl>
              <c:idx val="710"/>
              <c:layout>
                <c:manualLayout>
                  <c:x val="0"/>
                  <c:y val="5.9147851776414913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676-3944-A23C-181D9DC63D6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712</c:f>
              <c:numCache>
                <c:formatCode>m/d/yy</c:formatCode>
                <c:ptCount val="711"/>
                <c:pt idx="0">
                  <c:v>44200</c:v>
                </c:pt>
                <c:pt idx="1">
                  <c:v>44201</c:v>
                </c:pt>
                <c:pt idx="2">
                  <c:v>44202</c:v>
                </c:pt>
                <c:pt idx="3">
                  <c:v>44203</c:v>
                </c:pt>
                <c:pt idx="4">
                  <c:v>44204</c:v>
                </c:pt>
                <c:pt idx="5">
                  <c:v>44207</c:v>
                </c:pt>
                <c:pt idx="6">
                  <c:v>44208</c:v>
                </c:pt>
                <c:pt idx="7">
                  <c:v>44209</c:v>
                </c:pt>
                <c:pt idx="8">
                  <c:v>44210</c:v>
                </c:pt>
                <c:pt idx="9">
                  <c:v>44211</c:v>
                </c:pt>
                <c:pt idx="10">
                  <c:v>44215</c:v>
                </c:pt>
                <c:pt idx="11">
                  <c:v>44216</c:v>
                </c:pt>
                <c:pt idx="12">
                  <c:v>44217</c:v>
                </c:pt>
                <c:pt idx="13">
                  <c:v>44218</c:v>
                </c:pt>
                <c:pt idx="14">
                  <c:v>44221</c:v>
                </c:pt>
                <c:pt idx="15">
                  <c:v>44222</c:v>
                </c:pt>
                <c:pt idx="16">
                  <c:v>44223</c:v>
                </c:pt>
                <c:pt idx="17">
                  <c:v>44224</c:v>
                </c:pt>
                <c:pt idx="18">
                  <c:v>44225</c:v>
                </c:pt>
                <c:pt idx="19">
                  <c:v>44228</c:v>
                </c:pt>
                <c:pt idx="20">
                  <c:v>44229</c:v>
                </c:pt>
                <c:pt idx="21">
                  <c:v>44230</c:v>
                </c:pt>
                <c:pt idx="22">
                  <c:v>44231</c:v>
                </c:pt>
                <c:pt idx="23">
                  <c:v>44232</c:v>
                </c:pt>
                <c:pt idx="24">
                  <c:v>44235</c:v>
                </c:pt>
                <c:pt idx="25">
                  <c:v>44236</c:v>
                </c:pt>
                <c:pt idx="26">
                  <c:v>44237</c:v>
                </c:pt>
                <c:pt idx="27">
                  <c:v>44238</c:v>
                </c:pt>
                <c:pt idx="28">
                  <c:v>44239</c:v>
                </c:pt>
                <c:pt idx="29">
                  <c:v>44243</c:v>
                </c:pt>
                <c:pt idx="30">
                  <c:v>44244</c:v>
                </c:pt>
                <c:pt idx="31">
                  <c:v>44245</c:v>
                </c:pt>
                <c:pt idx="32">
                  <c:v>44246</c:v>
                </c:pt>
                <c:pt idx="33">
                  <c:v>44249</c:v>
                </c:pt>
                <c:pt idx="34">
                  <c:v>44250</c:v>
                </c:pt>
                <c:pt idx="35">
                  <c:v>44251</c:v>
                </c:pt>
                <c:pt idx="36">
                  <c:v>44252</c:v>
                </c:pt>
                <c:pt idx="37">
                  <c:v>44253</c:v>
                </c:pt>
                <c:pt idx="38">
                  <c:v>44256</c:v>
                </c:pt>
                <c:pt idx="39">
                  <c:v>44257</c:v>
                </c:pt>
                <c:pt idx="40">
                  <c:v>44258</c:v>
                </c:pt>
                <c:pt idx="41">
                  <c:v>44259</c:v>
                </c:pt>
                <c:pt idx="42">
                  <c:v>44260</c:v>
                </c:pt>
                <c:pt idx="43">
                  <c:v>44263</c:v>
                </c:pt>
                <c:pt idx="44">
                  <c:v>44264</c:v>
                </c:pt>
                <c:pt idx="45">
                  <c:v>44265</c:v>
                </c:pt>
                <c:pt idx="46">
                  <c:v>44266</c:v>
                </c:pt>
                <c:pt idx="47">
                  <c:v>44267</c:v>
                </c:pt>
                <c:pt idx="48">
                  <c:v>44270</c:v>
                </c:pt>
                <c:pt idx="49">
                  <c:v>44271</c:v>
                </c:pt>
                <c:pt idx="50">
                  <c:v>44272</c:v>
                </c:pt>
                <c:pt idx="51">
                  <c:v>44273</c:v>
                </c:pt>
                <c:pt idx="52">
                  <c:v>44274</c:v>
                </c:pt>
                <c:pt idx="53">
                  <c:v>44277</c:v>
                </c:pt>
                <c:pt idx="54">
                  <c:v>44278</c:v>
                </c:pt>
                <c:pt idx="55">
                  <c:v>44279</c:v>
                </c:pt>
                <c:pt idx="56">
                  <c:v>44280</c:v>
                </c:pt>
                <c:pt idx="57">
                  <c:v>44281</c:v>
                </c:pt>
                <c:pt idx="58">
                  <c:v>44284</c:v>
                </c:pt>
                <c:pt idx="59">
                  <c:v>44285</c:v>
                </c:pt>
                <c:pt idx="60">
                  <c:v>44286</c:v>
                </c:pt>
                <c:pt idx="61">
                  <c:v>44287</c:v>
                </c:pt>
                <c:pt idx="62">
                  <c:v>44291</c:v>
                </c:pt>
                <c:pt idx="63">
                  <c:v>44292</c:v>
                </c:pt>
                <c:pt idx="64">
                  <c:v>44293</c:v>
                </c:pt>
                <c:pt idx="65">
                  <c:v>44294</c:v>
                </c:pt>
                <c:pt idx="66">
                  <c:v>44295</c:v>
                </c:pt>
                <c:pt idx="67">
                  <c:v>44298</c:v>
                </c:pt>
                <c:pt idx="68">
                  <c:v>44299</c:v>
                </c:pt>
                <c:pt idx="69">
                  <c:v>44300</c:v>
                </c:pt>
                <c:pt idx="70">
                  <c:v>44301</c:v>
                </c:pt>
                <c:pt idx="71">
                  <c:v>44302</c:v>
                </c:pt>
                <c:pt idx="72">
                  <c:v>44305</c:v>
                </c:pt>
                <c:pt idx="73">
                  <c:v>44306</c:v>
                </c:pt>
                <c:pt idx="74">
                  <c:v>44307</c:v>
                </c:pt>
                <c:pt idx="75">
                  <c:v>44308</c:v>
                </c:pt>
                <c:pt idx="76">
                  <c:v>44309</c:v>
                </c:pt>
                <c:pt idx="77">
                  <c:v>44312</c:v>
                </c:pt>
                <c:pt idx="78">
                  <c:v>44313</c:v>
                </c:pt>
                <c:pt idx="79">
                  <c:v>44314</c:v>
                </c:pt>
                <c:pt idx="80">
                  <c:v>44315</c:v>
                </c:pt>
                <c:pt idx="81">
                  <c:v>44316</c:v>
                </c:pt>
                <c:pt idx="82">
                  <c:v>44319</c:v>
                </c:pt>
                <c:pt idx="83">
                  <c:v>44320</c:v>
                </c:pt>
                <c:pt idx="84">
                  <c:v>44321</c:v>
                </c:pt>
                <c:pt idx="85">
                  <c:v>44322</c:v>
                </c:pt>
                <c:pt idx="86">
                  <c:v>44323</c:v>
                </c:pt>
                <c:pt idx="87">
                  <c:v>44326</c:v>
                </c:pt>
                <c:pt idx="88">
                  <c:v>44327</c:v>
                </c:pt>
                <c:pt idx="89">
                  <c:v>44328</c:v>
                </c:pt>
                <c:pt idx="90">
                  <c:v>44329</c:v>
                </c:pt>
                <c:pt idx="91">
                  <c:v>44330</c:v>
                </c:pt>
                <c:pt idx="92">
                  <c:v>44333</c:v>
                </c:pt>
                <c:pt idx="93">
                  <c:v>44334</c:v>
                </c:pt>
                <c:pt idx="94">
                  <c:v>44335</c:v>
                </c:pt>
                <c:pt idx="95">
                  <c:v>44336</c:v>
                </c:pt>
                <c:pt idx="96">
                  <c:v>44337</c:v>
                </c:pt>
                <c:pt idx="97">
                  <c:v>44340</c:v>
                </c:pt>
                <c:pt idx="98">
                  <c:v>44341</c:v>
                </c:pt>
                <c:pt idx="99">
                  <c:v>44342</c:v>
                </c:pt>
                <c:pt idx="100">
                  <c:v>44343</c:v>
                </c:pt>
                <c:pt idx="101">
                  <c:v>44344</c:v>
                </c:pt>
                <c:pt idx="102">
                  <c:v>44348</c:v>
                </c:pt>
                <c:pt idx="103">
                  <c:v>44349</c:v>
                </c:pt>
                <c:pt idx="104">
                  <c:v>44350</c:v>
                </c:pt>
                <c:pt idx="105">
                  <c:v>44351</c:v>
                </c:pt>
                <c:pt idx="106">
                  <c:v>44354</c:v>
                </c:pt>
                <c:pt idx="107">
                  <c:v>44355</c:v>
                </c:pt>
                <c:pt idx="108">
                  <c:v>44356</c:v>
                </c:pt>
                <c:pt idx="109">
                  <c:v>44357</c:v>
                </c:pt>
                <c:pt idx="110">
                  <c:v>44358</c:v>
                </c:pt>
                <c:pt idx="111">
                  <c:v>44361</c:v>
                </c:pt>
                <c:pt idx="112">
                  <c:v>44362</c:v>
                </c:pt>
                <c:pt idx="113">
                  <c:v>44363</c:v>
                </c:pt>
                <c:pt idx="114">
                  <c:v>44364</c:v>
                </c:pt>
                <c:pt idx="115">
                  <c:v>44365</c:v>
                </c:pt>
                <c:pt idx="116">
                  <c:v>44368</c:v>
                </c:pt>
                <c:pt idx="117">
                  <c:v>44369</c:v>
                </c:pt>
                <c:pt idx="118">
                  <c:v>44370</c:v>
                </c:pt>
                <c:pt idx="119">
                  <c:v>44371</c:v>
                </c:pt>
                <c:pt idx="120">
                  <c:v>44372</c:v>
                </c:pt>
                <c:pt idx="121">
                  <c:v>44375</c:v>
                </c:pt>
                <c:pt idx="122">
                  <c:v>44376</c:v>
                </c:pt>
                <c:pt idx="123">
                  <c:v>44377</c:v>
                </c:pt>
                <c:pt idx="124">
                  <c:v>44378</c:v>
                </c:pt>
                <c:pt idx="125">
                  <c:v>44379</c:v>
                </c:pt>
                <c:pt idx="126">
                  <c:v>44383</c:v>
                </c:pt>
                <c:pt idx="127">
                  <c:v>44384</c:v>
                </c:pt>
                <c:pt idx="128">
                  <c:v>44385</c:v>
                </c:pt>
                <c:pt idx="129">
                  <c:v>44386</c:v>
                </c:pt>
                <c:pt idx="130">
                  <c:v>44389</c:v>
                </c:pt>
                <c:pt idx="131">
                  <c:v>44390</c:v>
                </c:pt>
                <c:pt idx="132">
                  <c:v>44391</c:v>
                </c:pt>
                <c:pt idx="133">
                  <c:v>44392</c:v>
                </c:pt>
                <c:pt idx="134">
                  <c:v>44393</c:v>
                </c:pt>
                <c:pt idx="135">
                  <c:v>44396</c:v>
                </c:pt>
                <c:pt idx="136">
                  <c:v>44397</c:v>
                </c:pt>
                <c:pt idx="137">
                  <c:v>44398</c:v>
                </c:pt>
                <c:pt idx="138">
                  <c:v>44399</c:v>
                </c:pt>
                <c:pt idx="139">
                  <c:v>44400</c:v>
                </c:pt>
                <c:pt idx="140">
                  <c:v>44403</c:v>
                </c:pt>
                <c:pt idx="141">
                  <c:v>44404</c:v>
                </c:pt>
                <c:pt idx="142">
                  <c:v>44405</c:v>
                </c:pt>
                <c:pt idx="143">
                  <c:v>44406</c:v>
                </c:pt>
                <c:pt idx="144">
                  <c:v>44407</c:v>
                </c:pt>
                <c:pt idx="145">
                  <c:v>44410</c:v>
                </c:pt>
                <c:pt idx="146">
                  <c:v>44411</c:v>
                </c:pt>
                <c:pt idx="147">
                  <c:v>44412</c:v>
                </c:pt>
                <c:pt idx="148">
                  <c:v>44413</c:v>
                </c:pt>
                <c:pt idx="149">
                  <c:v>44414</c:v>
                </c:pt>
                <c:pt idx="150">
                  <c:v>44417</c:v>
                </c:pt>
                <c:pt idx="151">
                  <c:v>44418</c:v>
                </c:pt>
                <c:pt idx="152">
                  <c:v>44419</c:v>
                </c:pt>
                <c:pt idx="153">
                  <c:v>44420</c:v>
                </c:pt>
                <c:pt idx="154">
                  <c:v>44421</c:v>
                </c:pt>
                <c:pt idx="155">
                  <c:v>44424</c:v>
                </c:pt>
                <c:pt idx="156">
                  <c:v>44425</c:v>
                </c:pt>
                <c:pt idx="157">
                  <c:v>44426</c:v>
                </c:pt>
                <c:pt idx="158">
                  <c:v>44427</c:v>
                </c:pt>
                <c:pt idx="159">
                  <c:v>44428</c:v>
                </c:pt>
                <c:pt idx="160">
                  <c:v>44431</c:v>
                </c:pt>
                <c:pt idx="161">
                  <c:v>44432</c:v>
                </c:pt>
                <c:pt idx="162">
                  <c:v>44433</c:v>
                </c:pt>
                <c:pt idx="163">
                  <c:v>44434</c:v>
                </c:pt>
                <c:pt idx="164">
                  <c:v>44435</c:v>
                </c:pt>
                <c:pt idx="165">
                  <c:v>44438</c:v>
                </c:pt>
                <c:pt idx="166">
                  <c:v>44439</c:v>
                </c:pt>
                <c:pt idx="167">
                  <c:v>44440</c:v>
                </c:pt>
                <c:pt idx="168">
                  <c:v>44441</c:v>
                </c:pt>
                <c:pt idx="169">
                  <c:v>44442</c:v>
                </c:pt>
                <c:pt idx="170">
                  <c:v>44446</c:v>
                </c:pt>
                <c:pt idx="171">
                  <c:v>44447</c:v>
                </c:pt>
                <c:pt idx="172">
                  <c:v>44448</c:v>
                </c:pt>
                <c:pt idx="173">
                  <c:v>44449</c:v>
                </c:pt>
                <c:pt idx="174">
                  <c:v>44452</c:v>
                </c:pt>
                <c:pt idx="175">
                  <c:v>44453</c:v>
                </c:pt>
                <c:pt idx="176">
                  <c:v>44454</c:v>
                </c:pt>
                <c:pt idx="177">
                  <c:v>44455</c:v>
                </c:pt>
                <c:pt idx="178">
                  <c:v>44456</c:v>
                </c:pt>
                <c:pt idx="179">
                  <c:v>44459</c:v>
                </c:pt>
                <c:pt idx="180">
                  <c:v>44460</c:v>
                </c:pt>
                <c:pt idx="181">
                  <c:v>44461</c:v>
                </c:pt>
                <c:pt idx="182">
                  <c:v>44462</c:v>
                </c:pt>
                <c:pt idx="183">
                  <c:v>44463</c:v>
                </c:pt>
                <c:pt idx="184">
                  <c:v>44466</c:v>
                </c:pt>
                <c:pt idx="185">
                  <c:v>44467</c:v>
                </c:pt>
                <c:pt idx="186">
                  <c:v>44468</c:v>
                </c:pt>
                <c:pt idx="187">
                  <c:v>44469</c:v>
                </c:pt>
                <c:pt idx="188">
                  <c:v>44470</c:v>
                </c:pt>
                <c:pt idx="189">
                  <c:v>44473</c:v>
                </c:pt>
                <c:pt idx="190">
                  <c:v>44474</c:v>
                </c:pt>
                <c:pt idx="191">
                  <c:v>44475</c:v>
                </c:pt>
                <c:pt idx="192">
                  <c:v>44476</c:v>
                </c:pt>
                <c:pt idx="193">
                  <c:v>44477</c:v>
                </c:pt>
                <c:pt idx="194">
                  <c:v>44481</c:v>
                </c:pt>
                <c:pt idx="195">
                  <c:v>44482</c:v>
                </c:pt>
                <c:pt idx="196">
                  <c:v>44483</c:v>
                </c:pt>
                <c:pt idx="197">
                  <c:v>44484</c:v>
                </c:pt>
                <c:pt idx="198">
                  <c:v>44487</c:v>
                </c:pt>
                <c:pt idx="199">
                  <c:v>44488</c:v>
                </c:pt>
                <c:pt idx="200">
                  <c:v>44489</c:v>
                </c:pt>
                <c:pt idx="201">
                  <c:v>44490</c:v>
                </c:pt>
                <c:pt idx="202">
                  <c:v>44491</c:v>
                </c:pt>
                <c:pt idx="203">
                  <c:v>44494</c:v>
                </c:pt>
                <c:pt idx="204">
                  <c:v>44495</c:v>
                </c:pt>
                <c:pt idx="205">
                  <c:v>44496</c:v>
                </c:pt>
                <c:pt idx="206">
                  <c:v>44497</c:v>
                </c:pt>
                <c:pt idx="207">
                  <c:v>44498</c:v>
                </c:pt>
                <c:pt idx="208">
                  <c:v>44501</c:v>
                </c:pt>
                <c:pt idx="209">
                  <c:v>44502</c:v>
                </c:pt>
                <c:pt idx="210">
                  <c:v>44503</c:v>
                </c:pt>
                <c:pt idx="211">
                  <c:v>44504</c:v>
                </c:pt>
                <c:pt idx="212">
                  <c:v>44505</c:v>
                </c:pt>
                <c:pt idx="213">
                  <c:v>44508</c:v>
                </c:pt>
                <c:pt idx="214">
                  <c:v>44509</c:v>
                </c:pt>
                <c:pt idx="215">
                  <c:v>44510</c:v>
                </c:pt>
                <c:pt idx="216">
                  <c:v>44512</c:v>
                </c:pt>
                <c:pt idx="217">
                  <c:v>44515</c:v>
                </c:pt>
                <c:pt idx="218">
                  <c:v>44516</c:v>
                </c:pt>
                <c:pt idx="219">
                  <c:v>44517</c:v>
                </c:pt>
                <c:pt idx="220">
                  <c:v>44518</c:v>
                </c:pt>
                <c:pt idx="221">
                  <c:v>44519</c:v>
                </c:pt>
                <c:pt idx="222">
                  <c:v>44522</c:v>
                </c:pt>
                <c:pt idx="223">
                  <c:v>44523</c:v>
                </c:pt>
                <c:pt idx="224">
                  <c:v>44524</c:v>
                </c:pt>
                <c:pt idx="225">
                  <c:v>44526</c:v>
                </c:pt>
                <c:pt idx="226">
                  <c:v>44529</c:v>
                </c:pt>
                <c:pt idx="227">
                  <c:v>44530</c:v>
                </c:pt>
                <c:pt idx="228">
                  <c:v>44531</c:v>
                </c:pt>
                <c:pt idx="229">
                  <c:v>44532</c:v>
                </c:pt>
                <c:pt idx="230">
                  <c:v>44533</c:v>
                </c:pt>
                <c:pt idx="231">
                  <c:v>44536</c:v>
                </c:pt>
                <c:pt idx="232">
                  <c:v>44537</c:v>
                </c:pt>
                <c:pt idx="233">
                  <c:v>44538</c:v>
                </c:pt>
                <c:pt idx="234">
                  <c:v>44539</c:v>
                </c:pt>
                <c:pt idx="235">
                  <c:v>44540</c:v>
                </c:pt>
                <c:pt idx="236">
                  <c:v>44543</c:v>
                </c:pt>
                <c:pt idx="237">
                  <c:v>44544</c:v>
                </c:pt>
                <c:pt idx="238">
                  <c:v>44545</c:v>
                </c:pt>
                <c:pt idx="239">
                  <c:v>44546</c:v>
                </c:pt>
                <c:pt idx="240">
                  <c:v>44547</c:v>
                </c:pt>
                <c:pt idx="241">
                  <c:v>44550</c:v>
                </c:pt>
                <c:pt idx="242">
                  <c:v>44551</c:v>
                </c:pt>
                <c:pt idx="243">
                  <c:v>44552</c:v>
                </c:pt>
                <c:pt idx="244">
                  <c:v>44553</c:v>
                </c:pt>
                <c:pt idx="245">
                  <c:v>44557</c:v>
                </c:pt>
                <c:pt idx="246">
                  <c:v>44558</c:v>
                </c:pt>
                <c:pt idx="247">
                  <c:v>44559</c:v>
                </c:pt>
                <c:pt idx="248">
                  <c:v>44560</c:v>
                </c:pt>
                <c:pt idx="249">
                  <c:v>44561</c:v>
                </c:pt>
                <c:pt idx="250">
                  <c:v>44564</c:v>
                </c:pt>
                <c:pt idx="251">
                  <c:v>44565</c:v>
                </c:pt>
                <c:pt idx="252">
                  <c:v>44566</c:v>
                </c:pt>
                <c:pt idx="253">
                  <c:v>44567</c:v>
                </c:pt>
                <c:pt idx="254">
                  <c:v>44568</c:v>
                </c:pt>
                <c:pt idx="255">
                  <c:v>44571</c:v>
                </c:pt>
                <c:pt idx="256">
                  <c:v>44572</c:v>
                </c:pt>
                <c:pt idx="257">
                  <c:v>44573</c:v>
                </c:pt>
                <c:pt idx="258">
                  <c:v>44574</c:v>
                </c:pt>
                <c:pt idx="259">
                  <c:v>44575</c:v>
                </c:pt>
                <c:pt idx="260">
                  <c:v>44579</c:v>
                </c:pt>
                <c:pt idx="261">
                  <c:v>44580</c:v>
                </c:pt>
                <c:pt idx="262">
                  <c:v>44581</c:v>
                </c:pt>
                <c:pt idx="263">
                  <c:v>44582</c:v>
                </c:pt>
                <c:pt idx="264">
                  <c:v>44585</c:v>
                </c:pt>
                <c:pt idx="265">
                  <c:v>44586</c:v>
                </c:pt>
                <c:pt idx="266">
                  <c:v>44587</c:v>
                </c:pt>
                <c:pt idx="267">
                  <c:v>44588</c:v>
                </c:pt>
                <c:pt idx="268">
                  <c:v>44589</c:v>
                </c:pt>
                <c:pt idx="269">
                  <c:v>44592</c:v>
                </c:pt>
                <c:pt idx="270">
                  <c:v>44593</c:v>
                </c:pt>
                <c:pt idx="271">
                  <c:v>44594</c:v>
                </c:pt>
                <c:pt idx="272">
                  <c:v>44595</c:v>
                </c:pt>
                <c:pt idx="273">
                  <c:v>44596</c:v>
                </c:pt>
                <c:pt idx="274">
                  <c:v>44599</c:v>
                </c:pt>
                <c:pt idx="275">
                  <c:v>44600</c:v>
                </c:pt>
                <c:pt idx="276">
                  <c:v>44601</c:v>
                </c:pt>
                <c:pt idx="277">
                  <c:v>44602</c:v>
                </c:pt>
                <c:pt idx="278">
                  <c:v>44603</c:v>
                </c:pt>
                <c:pt idx="279">
                  <c:v>44606</c:v>
                </c:pt>
                <c:pt idx="280">
                  <c:v>44607</c:v>
                </c:pt>
                <c:pt idx="281">
                  <c:v>44608</c:v>
                </c:pt>
                <c:pt idx="282">
                  <c:v>44609</c:v>
                </c:pt>
                <c:pt idx="283">
                  <c:v>44610</c:v>
                </c:pt>
                <c:pt idx="284">
                  <c:v>44614</c:v>
                </c:pt>
                <c:pt idx="285">
                  <c:v>44615</c:v>
                </c:pt>
                <c:pt idx="286">
                  <c:v>44616</c:v>
                </c:pt>
                <c:pt idx="287">
                  <c:v>44617</c:v>
                </c:pt>
                <c:pt idx="288">
                  <c:v>44620</c:v>
                </c:pt>
                <c:pt idx="289">
                  <c:v>44621</c:v>
                </c:pt>
                <c:pt idx="290">
                  <c:v>44622</c:v>
                </c:pt>
                <c:pt idx="291">
                  <c:v>44623</c:v>
                </c:pt>
                <c:pt idx="292">
                  <c:v>44624</c:v>
                </c:pt>
                <c:pt idx="293">
                  <c:v>44627</c:v>
                </c:pt>
                <c:pt idx="294">
                  <c:v>44628</c:v>
                </c:pt>
                <c:pt idx="295">
                  <c:v>44629</c:v>
                </c:pt>
                <c:pt idx="296">
                  <c:v>44630</c:v>
                </c:pt>
                <c:pt idx="297">
                  <c:v>44631</c:v>
                </c:pt>
                <c:pt idx="298">
                  <c:v>44634</c:v>
                </c:pt>
                <c:pt idx="299">
                  <c:v>44635</c:v>
                </c:pt>
                <c:pt idx="300">
                  <c:v>44636</c:v>
                </c:pt>
                <c:pt idx="301">
                  <c:v>44637</c:v>
                </c:pt>
                <c:pt idx="302">
                  <c:v>44638</c:v>
                </c:pt>
                <c:pt idx="303">
                  <c:v>44641</c:v>
                </c:pt>
                <c:pt idx="304">
                  <c:v>44642</c:v>
                </c:pt>
                <c:pt idx="305">
                  <c:v>44643</c:v>
                </c:pt>
                <c:pt idx="306">
                  <c:v>44644</c:v>
                </c:pt>
                <c:pt idx="307">
                  <c:v>44645</c:v>
                </c:pt>
                <c:pt idx="308">
                  <c:v>44648</c:v>
                </c:pt>
                <c:pt idx="309">
                  <c:v>44649</c:v>
                </c:pt>
                <c:pt idx="310">
                  <c:v>44650</c:v>
                </c:pt>
                <c:pt idx="311">
                  <c:v>44651</c:v>
                </c:pt>
                <c:pt idx="312">
                  <c:v>44652</c:v>
                </c:pt>
                <c:pt idx="313">
                  <c:v>44655</c:v>
                </c:pt>
                <c:pt idx="314">
                  <c:v>44656</c:v>
                </c:pt>
                <c:pt idx="315">
                  <c:v>44657</c:v>
                </c:pt>
                <c:pt idx="316">
                  <c:v>44658</c:v>
                </c:pt>
                <c:pt idx="317">
                  <c:v>44659</c:v>
                </c:pt>
                <c:pt idx="318">
                  <c:v>44662</c:v>
                </c:pt>
                <c:pt idx="319">
                  <c:v>44663</c:v>
                </c:pt>
                <c:pt idx="320">
                  <c:v>44664</c:v>
                </c:pt>
                <c:pt idx="321">
                  <c:v>44665</c:v>
                </c:pt>
                <c:pt idx="322">
                  <c:v>44669</c:v>
                </c:pt>
                <c:pt idx="323">
                  <c:v>44670</c:v>
                </c:pt>
                <c:pt idx="324">
                  <c:v>44671</c:v>
                </c:pt>
                <c:pt idx="325">
                  <c:v>44672</c:v>
                </c:pt>
                <c:pt idx="326">
                  <c:v>44673</c:v>
                </c:pt>
                <c:pt idx="327">
                  <c:v>44676</c:v>
                </c:pt>
                <c:pt idx="328">
                  <c:v>44677</c:v>
                </c:pt>
                <c:pt idx="329">
                  <c:v>44678</c:v>
                </c:pt>
                <c:pt idx="330">
                  <c:v>44679</c:v>
                </c:pt>
                <c:pt idx="331">
                  <c:v>44680</c:v>
                </c:pt>
                <c:pt idx="332">
                  <c:v>44683</c:v>
                </c:pt>
                <c:pt idx="333">
                  <c:v>44684</c:v>
                </c:pt>
                <c:pt idx="334">
                  <c:v>44685</c:v>
                </c:pt>
                <c:pt idx="335">
                  <c:v>44686</c:v>
                </c:pt>
                <c:pt idx="336">
                  <c:v>44687</c:v>
                </c:pt>
                <c:pt idx="337">
                  <c:v>44690</c:v>
                </c:pt>
                <c:pt idx="338">
                  <c:v>44691</c:v>
                </c:pt>
                <c:pt idx="339">
                  <c:v>44692</c:v>
                </c:pt>
                <c:pt idx="340">
                  <c:v>44693</c:v>
                </c:pt>
                <c:pt idx="341">
                  <c:v>44694</c:v>
                </c:pt>
                <c:pt idx="342">
                  <c:v>44697</c:v>
                </c:pt>
                <c:pt idx="343">
                  <c:v>44698</c:v>
                </c:pt>
                <c:pt idx="344">
                  <c:v>44699</c:v>
                </c:pt>
                <c:pt idx="345">
                  <c:v>44700</c:v>
                </c:pt>
                <c:pt idx="346">
                  <c:v>44701</c:v>
                </c:pt>
                <c:pt idx="347">
                  <c:v>44704</c:v>
                </c:pt>
                <c:pt idx="348">
                  <c:v>44705</c:v>
                </c:pt>
                <c:pt idx="349">
                  <c:v>44706</c:v>
                </c:pt>
                <c:pt idx="350">
                  <c:v>44707</c:v>
                </c:pt>
                <c:pt idx="351">
                  <c:v>44708</c:v>
                </c:pt>
                <c:pt idx="352">
                  <c:v>44712</c:v>
                </c:pt>
                <c:pt idx="353">
                  <c:v>44713</c:v>
                </c:pt>
                <c:pt idx="354">
                  <c:v>44714</c:v>
                </c:pt>
                <c:pt idx="355">
                  <c:v>44715</c:v>
                </c:pt>
                <c:pt idx="356">
                  <c:v>44718</c:v>
                </c:pt>
                <c:pt idx="357">
                  <c:v>44719</c:v>
                </c:pt>
                <c:pt idx="358">
                  <c:v>44720</c:v>
                </c:pt>
                <c:pt idx="359">
                  <c:v>44721</c:v>
                </c:pt>
                <c:pt idx="360">
                  <c:v>44722</c:v>
                </c:pt>
                <c:pt idx="361">
                  <c:v>44725</c:v>
                </c:pt>
                <c:pt idx="362">
                  <c:v>44726</c:v>
                </c:pt>
                <c:pt idx="363">
                  <c:v>44727</c:v>
                </c:pt>
                <c:pt idx="364">
                  <c:v>44728</c:v>
                </c:pt>
                <c:pt idx="365">
                  <c:v>44729</c:v>
                </c:pt>
                <c:pt idx="366">
                  <c:v>44733</c:v>
                </c:pt>
                <c:pt idx="367">
                  <c:v>44734</c:v>
                </c:pt>
                <c:pt idx="368">
                  <c:v>44735</c:v>
                </c:pt>
                <c:pt idx="369">
                  <c:v>44736</c:v>
                </c:pt>
                <c:pt idx="370">
                  <c:v>44739</c:v>
                </c:pt>
                <c:pt idx="371">
                  <c:v>44740</c:v>
                </c:pt>
                <c:pt idx="372">
                  <c:v>44741</c:v>
                </c:pt>
                <c:pt idx="373">
                  <c:v>44742</c:v>
                </c:pt>
                <c:pt idx="374">
                  <c:v>44743</c:v>
                </c:pt>
                <c:pt idx="375">
                  <c:v>44747</c:v>
                </c:pt>
                <c:pt idx="376">
                  <c:v>44748</c:v>
                </c:pt>
                <c:pt idx="377">
                  <c:v>44749</c:v>
                </c:pt>
                <c:pt idx="378">
                  <c:v>44750</c:v>
                </c:pt>
                <c:pt idx="379">
                  <c:v>44753</c:v>
                </c:pt>
                <c:pt idx="380">
                  <c:v>44754</c:v>
                </c:pt>
                <c:pt idx="381">
                  <c:v>44755</c:v>
                </c:pt>
                <c:pt idx="382">
                  <c:v>44756</c:v>
                </c:pt>
                <c:pt idx="383">
                  <c:v>44757</c:v>
                </c:pt>
                <c:pt idx="384">
                  <c:v>44760</c:v>
                </c:pt>
                <c:pt idx="385">
                  <c:v>44761</c:v>
                </c:pt>
                <c:pt idx="386">
                  <c:v>44762</c:v>
                </c:pt>
                <c:pt idx="387">
                  <c:v>44763</c:v>
                </c:pt>
                <c:pt idx="388">
                  <c:v>44764</c:v>
                </c:pt>
                <c:pt idx="389">
                  <c:v>44767</c:v>
                </c:pt>
                <c:pt idx="390">
                  <c:v>44768</c:v>
                </c:pt>
                <c:pt idx="391">
                  <c:v>44769</c:v>
                </c:pt>
                <c:pt idx="392">
                  <c:v>44770</c:v>
                </c:pt>
                <c:pt idx="393">
                  <c:v>44771</c:v>
                </c:pt>
                <c:pt idx="394">
                  <c:v>44774</c:v>
                </c:pt>
                <c:pt idx="395">
                  <c:v>44775</c:v>
                </c:pt>
                <c:pt idx="396">
                  <c:v>44776</c:v>
                </c:pt>
                <c:pt idx="397">
                  <c:v>44777</c:v>
                </c:pt>
                <c:pt idx="398">
                  <c:v>44778</c:v>
                </c:pt>
                <c:pt idx="399">
                  <c:v>44781</c:v>
                </c:pt>
                <c:pt idx="400">
                  <c:v>44782</c:v>
                </c:pt>
                <c:pt idx="401">
                  <c:v>44783</c:v>
                </c:pt>
                <c:pt idx="402">
                  <c:v>44784</c:v>
                </c:pt>
                <c:pt idx="403">
                  <c:v>44785</c:v>
                </c:pt>
                <c:pt idx="404">
                  <c:v>44788</c:v>
                </c:pt>
                <c:pt idx="405">
                  <c:v>44789</c:v>
                </c:pt>
                <c:pt idx="406">
                  <c:v>44790</c:v>
                </c:pt>
                <c:pt idx="407">
                  <c:v>44791</c:v>
                </c:pt>
                <c:pt idx="408">
                  <c:v>44792</c:v>
                </c:pt>
                <c:pt idx="409">
                  <c:v>44795</c:v>
                </c:pt>
                <c:pt idx="410">
                  <c:v>44796</c:v>
                </c:pt>
                <c:pt idx="411">
                  <c:v>44797</c:v>
                </c:pt>
                <c:pt idx="412">
                  <c:v>44798</c:v>
                </c:pt>
                <c:pt idx="413">
                  <c:v>44799</c:v>
                </c:pt>
                <c:pt idx="414">
                  <c:v>44802</c:v>
                </c:pt>
                <c:pt idx="415">
                  <c:v>44803</c:v>
                </c:pt>
                <c:pt idx="416">
                  <c:v>44804</c:v>
                </c:pt>
                <c:pt idx="417">
                  <c:v>44805</c:v>
                </c:pt>
                <c:pt idx="418">
                  <c:v>44806</c:v>
                </c:pt>
                <c:pt idx="419">
                  <c:v>44810</c:v>
                </c:pt>
                <c:pt idx="420">
                  <c:v>44811</c:v>
                </c:pt>
                <c:pt idx="421">
                  <c:v>44812</c:v>
                </c:pt>
                <c:pt idx="422">
                  <c:v>44813</c:v>
                </c:pt>
                <c:pt idx="423">
                  <c:v>44816</c:v>
                </c:pt>
                <c:pt idx="424">
                  <c:v>44817</c:v>
                </c:pt>
                <c:pt idx="425">
                  <c:v>44818</c:v>
                </c:pt>
                <c:pt idx="426">
                  <c:v>44819</c:v>
                </c:pt>
                <c:pt idx="427">
                  <c:v>44820</c:v>
                </c:pt>
                <c:pt idx="428">
                  <c:v>44823</c:v>
                </c:pt>
                <c:pt idx="429">
                  <c:v>44824</c:v>
                </c:pt>
                <c:pt idx="430">
                  <c:v>44825</c:v>
                </c:pt>
                <c:pt idx="431">
                  <c:v>44826</c:v>
                </c:pt>
                <c:pt idx="432">
                  <c:v>44827</c:v>
                </c:pt>
                <c:pt idx="433">
                  <c:v>44830</c:v>
                </c:pt>
                <c:pt idx="434">
                  <c:v>44831</c:v>
                </c:pt>
                <c:pt idx="435">
                  <c:v>44832</c:v>
                </c:pt>
                <c:pt idx="436">
                  <c:v>44833</c:v>
                </c:pt>
                <c:pt idx="437">
                  <c:v>44834</c:v>
                </c:pt>
                <c:pt idx="438">
                  <c:v>44837</c:v>
                </c:pt>
                <c:pt idx="439">
                  <c:v>44838</c:v>
                </c:pt>
                <c:pt idx="440">
                  <c:v>44839</c:v>
                </c:pt>
                <c:pt idx="441">
                  <c:v>44840</c:v>
                </c:pt>
                <c:pt idx="442">
                  <c:v>44841</c:v>
                </c:pt>
                <c:pt idx="443">
                  <c:v>44845</c:v>
                </c:pt>
                <c:pt idx="444">
                  <c:v>44846</c:v>
                </c:pt>
                <c:pt idx="445">
                  <c:v>44847</c:v>
                </c:pt>
                <c:pt idx="446">
                  <c:v>44848</c:v>
                </c:pt>
                <c:pt idx="447">
                  <c:v>44851</c:v>
                </c:pt>
                <c:pt idx="448">
                  <c:v>44852</c:v>
                </c:pt>
                <c:pt idx="449">
                  <c:v>44853</c:v>
                </c:pt>
                <c:pt idx="450">
                  <c:v>44854</c:v>
                </c:pt>
                <c:pt idx="451">
                  <c:v>44855</c:v>
                </c:pt>
                <c:pt idx="452">
                  <c:v>44858</c:v>
                </c:pt>
                <c:pt idx="453">
                  <c:v>44859</c:v>
                </c:pt>
                <c:pt idx="454">
                  <c:v>44860</c:v>
                </c:pt>
                <c:pt idx="455">
                  <c:v>44861</c:v>
                </c:pt>
                <c:pt idx="456">
                  <c:v>44862</c:v>
                </c:pt>
                <c:pt idx="457">
                  <c:v>44865</c:v>
                </c:pt>
                <c:pt idx="458">
                  <c:v>44866</c:v>
                </c:pt>
                <c:pt idx="459">
                  <c:v>44867</c:v>
                </c:pt>
                <c:pt idx="460">
                  <c:v>44868</c:v>
                </c:pt>
                <c:pt idx="461">
                  <c:v>44869</c:v>
                </c:pt>
                <c:pt idx="462">
                  <c:v>44872</c:v>
                </c:pt>
                <c:pt idx="463">
                  <c:v>44873</c:v>
                </c:pt>
                <c:pt idx="464">
                  <c:v>44874</c:v>
                </c:pt>
                <c:pt idx="465">
                  <c:v>44875</c:v>
                </c:pt>
                <c:pt idx="466">
                  <c:v>44879</c:v>
                </c:pt>
                <c:pt idx="467">
                  <c:v>44880</c:v>
                </c:pt>
                <c:pt idx="468">
                  <c:v>44881</c:v>
                </c:pt>
                <c:pt idx="469">
                  <c:v>44882</c:v>
                </c:pt>
                <c:pt idx="470">
                  <c:v>44883</c:v>
                </c:pt>
                <c:pt idx="471">
                  <c:v>44886</c:v>
                </c:pt>
                <c:pt idx="472">
                  <c:v>44887</c:v>
                </c:pt>
                <c:pt idx="473">
                  <c:v>44888</c:v>
                </c:pt>
                <c:pt idx="474">
                  <c:v>44890</c:v>
                </c:pt>
                <c:pt idx="475">
                  <c:v>44893</c:v>
                </c:pt>
                <c:pt idx="476">
                  <c:v>44894</c:v>
                </c:pt>
                <c:pt idx="477">
                  <c:v>44895</c:v>
                </c:pt>
                <c:pt idx="478">
                  <c:v>44896</c:v>
                </c:pt>
                <c:pt idx="479">
                  <c:v>44897</c:v>
                </c:pt>
                <c:pt idx="480">
                  <c:v>44900</c:v>
                </c:pt>
                <c:pt idx="481">
                  <c:v>44901</c:v>
                </c:pt>
                <c:pt idx="482">
                  <c:v>44902</c:v>
                </c:pt>
                <c:pt idx="483">
                  <c:v>44903</c:v>
                </c:pt>
                <c:pt idx="484">
                  <c:v>44904</c:v>
                </c:pt>
                <c:pt idx="485">
                  <c:v>44907</c:v>
                </c:pt>
                <c:pt idx="486">
                  <c:v>44908</c:v>
                </c:pt>
                <c:pt idx="487">
                  <c:v>44909</c:v>
                </c:pt>
                <c:pt idx="488">
                  <c:v>44910</c:v>
                </c:pt>
                <c:pt idx="489">
                  <c:v>44911</c:v>
                </c:pt>
                <c:pt idx="490">
                  <c:v>44914</c:v>
                </c:pt>
                <c:pt idx="491">
                  <c:v>44915</c:v>
                </c:pt>
                <c:pt idx="492">
                  <c:v>44916</c:v>
                </c:pt>
                <c:pt idx="493">
                  <c:v>44917</c:v>
                </c:pt>
                <c:pt idx="494">
                  <c:v>44918</c:v>
                </c:pt>
                <c:pt idx="495">
                  <c:v>44922</c:v>
                </c:pt>
                <c:pt idx="496">
                  <c:v>44923</c:v>
                </c:pt>
                <c:pt idx="497">
                  <c:v>44924</c:v>
                </c:pt>
                <c:pt idx="498">
                  <c:v>44925</c:v>
                </c:pt>
                <c:pt idx="499">
                  <c:v>44929</c:v>
                </c:pt>
                <c:pt idx="500">
                  <c:v>44930</c:v>
                </c:pt>
                <c:pt idx="501">
                  <c:v>44931</c:v>
                </c:pt>
                <c:pt idx="502">
                  <c:v>44932</c:v>
                </c:pt>
                <c:pt idx="503">
                  <c:v>44935</c:v>
                </c:pt>
                <c:pt idx="504">
                  <c:v>44936</c:v>
                </c:pt>
                <c:pt idx="505">
                  <c:v>44937</c:v>
                </c:pt>
                <c:pt idx="506">
                  <c:v>44938</c:v>
                </c:pt>
                <c:pt idx="507">
                  <c:v>44939</c:v>
                </c:pt>
                <c:pt idx="508">
                  <c:v>44943</c:v>
                </c:pt>
                <c:pt idx="509">
                  <c:v>44944</c:v>
                </c:pt>
                <c:pt idx="510">
                  <c:v>44945</c:v>
                </c:pt>
                <c:pt idx="511">
                  <c:v>44946</c:v>
                </c:pt>
                <c:pt idx="512">
                  <c:v>44949</c:v>
                </c:pt>
                <c:pt idx="513">
                  <c:v>44950</c:v>
                </c:pt>
                <c:pt idx="514">
                  <c:v>44951</c:v>
                </c:pt>
                <c:pt idx="515">
                  <c:v>44952</c:v>
                </c:pt>
                <c:pt idx="516">
                  <c:v>44953</c:v>
                </c:pt>
                <c:pt idx="517">
                  <c:v>44956</c:v>
                </c:pt>
                <c:pt idx="518">
                  <c:v>44957</c:v>
                </c:pt>
                <c:pt idx="519">
                  <c:v>44958</c:v>
                </c:pt>
                <c:pt idx="520">
                  <c:v>44959</c:v>
                </c:pt>
                <c:pt idx="521">
                  <c:v>44960</c:v>
                </c:pt>
                <c:pt idx="522">
                  <c:v>44963</c:v>
                </c:pt>
                <c:pt idx="523">
                  <c:v>44964</c:v>
                </c:pt>
                <c:pt idx="524">
                  <c:v>44965</c:v>
                </c:pt>
                <c:pt idx="525">
                  <c:v>44966</c:v>
                </c:pt>
                <c:pt idx="526">
                  <c:v>44967</c:v>
                </c:pt>
                <c:pt idx="527">
                  <c:v>44970</c:v>
                </c:pt>
                <c:pt idx="528">
                  <c:v>44971</c:v>
                </c:pt>
                <c:pt idx="529">
                  <c:v>44972</c:v>
                </c:pt>
                <c:pt idx="530">
                  <c:v>44973</c:v>
                </c:pt>
                <c:pt idx="531">
                  <c:v>44974</c:v>
                </c:pt>
                <c:pt idx="532">
                  <c:v>44978</c:v>
                </c:pt>
                <c:pt idx="533">
                  <c:v>44979</c:v>
                </c:pt>
                <c:pt idx="534">
                  <c:v>44980</c:v>
                </c:pt>
                <c:pt idx="535">
                  <c:v>44981</c:v>
                </c:pt>
                <c:pt idx="536">
                  <c:v>44984</c:v>
                </c:pt>
                <c:pt idx="537">
                  <c:v>44985</c:v>
                </c:pt>
                <c:pt idx="538">
                  <c:v>44986</c:v>
                </c:pt>
                <c:pt idx="539">
                  <c:v>44987</c:v>
                </c:pt>
                <c:pt idx="540">
                  <c:v>44988</c:v>
                </c:pt>
                <c:pt idx="541">
                  <c:v>44991</c:v>
                </c:pt>
                <c:pt idx="542">
                  <c:v>44992</c:v>
                </c:pt>
                <c:pt idx="543">
                  <c:v>44993</c:v>
                </c:pt>
                <c:pt idx="544">
                  <c:v>44994</c:v>
                </c:pt>
                <c:pt idx="545">
                  <c:v>44995</c:v>
                </c:pt>
                <c:pt idx="546">
                  <c:v>44998</c:v>
                </c:pt>
                <c:pt idx="547">
                  <c:v>44999</c:v>
                </c:pt>
                <c:pt idx="548">
                  <c:v>45000</c:v>
                </c:pt>
                <c:pt idx="549">
                  <c:v>45001</c:v>
                </c:pt>
                <c:pt idx="550">
                  <c:v>45002</c:v>
                </c:pt>
                <c:pt idx="551">
                  <c:v>45005</c:v>
                </c:pt>
                <c:pt idx="552">
                  <c:v>45006</c:v>
                </c:pt>
                <c:pt idx="553">
                  <c:v>45007</c:v>
                </c:pt>
                <c:pt idx="554">
                  <c:v>45008</c:v>
                </c:pt>
                <c:pt idx="555">
                  <c:v>45009</c:v>
                </c:pt>
                <c:pt idx="556">
                  <c:v>45012</c:v>
                </c:pt>
                <c:pt idx="557">
                  <c:v>45013</c:v>
                </c:pt>
                <c:pt idx="558">
                  <c:v>45014</c:v>
                </c:pt>
                <c:pt idx="559">
                  <c:v>45015</c:v>
                </c:pt>
                <c:pt idx="560">
                  <c:v>45016</c:v>
                </c:pt>
                <c:pt idx="561">
                  <c:v>45019</c:v>
                </c:pt>
                <c:pt idx="562">
                  <c:v>45020</c:v>
                </c:pt>
                <c:pt idx="563">
                  <c:v>45021</c:v>
                </c:pt>
                <c:pt idx="564">
                  <c:v>45022</c:v>
                </c:pt>
                <c:pt idx="565">
                  <c:v>45026</c:v>
                </c:pt>
                <c:pt idx="566">
                  <c:v>45027</c:v>
                </c:pt>
                <c:pt idx="567">
                  <c:v>45028</c:v>
                </c:pt>
                <c:pt idx="568">
                  <c:v>45029</c:v>
                </c:pt>
                <c:pt idx="569">
                  <c:v>45030</c:v>
                </c:pt>
                <c:pt idx="570">
                  <c:v>45033</c:v>
                </c:pt>
                <c:pt idx="571">
                  <c:v>45034</c:v>
                </c:pt>
                <c:pt idx="572">
                  <c:v>45035</c:v>
                </c:pt>
                <c:pt idx="573">
                  <c:v>45036</c:v>
                </c:pt>
                <c:pt idx="574">
                  <c:v>45037</c:v>
                </c:pt>
                <c:pt idx="575">
                  <c:v>45040</c:v>
                </c:pt>
                <c:pt idx="576">
                  <c:v>45041</c:v>
                </c:pt>
                <c:pt idx="577">
                  <c:v>45042</c:v>
                </c:pt>
                <c:pt idx="578">
                  <c:v>45043</c:v>
                </c:pt>
                <c:pt idx="579">
                  <c:v>45044</c:v>
                </c:pt>
                <c:pt idx="580">
                  <c:v>45047</c:v>
                </c:pt>
                <c:pt idx="581">
                  <c:v>45048</c:v>
                </c:pt>
                <c:pt idx="582">
                  <c:v>45049</c:v>
                </c:pt>
                <c:pt idx="583">
                  <c:v>45050</c:v>
                </c:pt>
                <c:pt idx="584">
                  <c:v>45051</c:v>
                </c:pt>
                <c:pt idx="585">
                  <c:v>45054</c:v>
                </c:pt>
                <c:pt idx="586">
                  <c:v>45055</c:v>
                </c:pt>
                <c:pt idx="587">
                  <c:v>45056</c:v>
                </c:pt>
                <c:pt idx="588">
                  <c:v>45057</c:v>
                </c:pt>
                <c:pt idx="589">
                  <c:v>45058</c:v>
                </c:pt>
                <c:pt idx="590">
                  <c:v>45061</c:v>
                </c:pt>
                <c:pt idx="591">
                  <c:v>45062</c:v>
                </c:pt>
                <c:pt idx="592">
                  <c:v>45063</c:v>
                </c:pt>
                <c:pt idx="593">
                  <c:v>45064</c:v>
                </c:pt>
                <c:pt idx="594">
                  <c:v>45065</c:v>
                </c:pt>
                <c:pt idx="595">
                  <c:v>45068</c:v>
                </c:pt>
                <c:pt idx="596">
                  <c:v>45069</c:v>
                </c:pt>
                <c:pt idx="597">
                  <c:v>45070</c:v>
                </c:pt>
                <c:pt idx="598">
                  <c:v>45071</c:v>
                </c:pt>
                <c:pt idx="599">
                  <c:v>45072</c:v>
                </c:pt>
                <c:pt idx="600">
                  <c:v>45076</c:v>
                </c:pt>
                <c:pt idx="601">
                  <c:v>45077</c:v>
                </c:pt>
                <c:pt idx="602">
                  <c:v>45078</c:v>
                </c:pt>
                <c:pt idx="603">
                  <c:v>45079</c:v>
                </c:pt>
                <c:pt idx="604">
                  <c:v>45082</c:v>
                </c:pt>
                <c:pt idx="605">
                  <c:v>45083</c:v>
                </c:pt>
                <c:pt idx="606">
                  <c:v>45084</c:v>
                </c:pt>
                <c:pt idx="607">
                  <c:v>45085</c:v>
                </c:pt>
                <c:pt idx="608">
                  <c:v>45086</c:v>
                </c:pt>
                <c:pt idx="609">
                  <c:v>45089</c:v>
                </c:pt>
                <c:pt idx="610">
                  <c:v>45090</c:v>
                </c:pt>
                <c:pt idx="611">
                  <c:v>45091</c:v>
                </c:pt>
                <c:pt idx="612">
                  <c:v>45092</c:v>
                </c:pt>
                <c:pt idx="613">
                  <c:v>45093</c:v>
                </c:pt>
                <c:pt idx="614">
                  <c:v>45097</c:v>
                </c:pt>
                <c:pt idx="615">
                  <c:v>45098</c:v>
                </c:pt>
                <c:pt idx="616">
                  <c:v>45099</c:v>
                </c:pt>
                <c:pt idx="617">
                  <c:v>45100</c:v>
                </c:pt>
                <c:pt idx="618">
                  <c:v>45103</c:v>
                </c:pt>
                <c:pt idx="619">
                  <c:v>45104</c:v>
                </c:pt>
                <c:pt idx="620">
                  <c:v>45105</c:v>
                </c:pt>
                <c:pt idx="621">
                  <c:v>45106</c:v>
                </c:pt>
                <c:pt idx="622">
                  <c:v>45107</c:v>
                </c:pt>
                <c:pt idx="623">
                  <c:v>45110</c:v>
                </c:pt>
                <c:pt idx="624">
                  <c:v>45112</c:v>
                </c:pt>
                <c:pt idx="625">
                  <c:v>45113</c:v>
                </c:pt>
                <c:pt idx="626">
                  <c:v>45114</c:v>
                </c:pt>
                <c:pt idx="627">
                  <c:v>45117</c:v>
                </c:pt>
                <c:pt idx="628">
                  <c:v>45118</c:v>
                </c:pt>
                <c:pt idx="629">
                  <c:v>45119</c:v>
                </c:pt>
                <c:pt idx="630">
                  <c:v>45120</c:v>
                </c:pt>
                <c:pt idx="631">
                  <c:v>45121</c:v>
                </c:pt>
                <c:pt idx="632">
                  <c:v>45124</c:v>
                </c:pt>
                <c:pt idx="633">
                  <c:v>45125</c:v>
                </c:pt>
                <c:pt idx="634">
                  <c:v>45126</c:v>
                </c:pt>
                <c:pt idx="635">
                  <c:v>45127</c:v>
                </c:pt>
                <c:pt idx="636">
                  <c:v>45128</c:v>
                </c:pt>
                <c:pt idx="637">
                  <c:v>45131</c:v>
                </c:pt>
                <c:pt idx="638">
                  <c:v>45132</c:v>
                </c:pt>
                <c:pt idx="639">
                  <c:v>45133</c:v>
                </c:pt>
                <c:pt idx="640">
                  <c:v>45134</c:v>
                </c:pt>
                <c:pt idx="641">
                  <c:v>45135</c:v>
                </c:pt>
                <c:pt idx="642">
                  <c:v>45138</c:v>
                </c:pt>
                <c:pt idx="643">
                  <c:v>45139</c:v>
                </c:pt>
                <c:pt idx="644">
                  <c:v>45140</c:v>
                </c:pt>
                <c:pt idx="645">
                  <c:v>45141</c:v>
                </c:pt>
                <c:pt idx="646">
                  <c:v>45142</c:v>
                </c:pt>
                <c:pt idx="647">
                  <c:v>45145</c:v>
                </c:pt>
                <c:pt idx="648">
                  <c:v>45146</c:v>
                </c:pt>
                <c:pt idx="649">
                  <c:v>45147</c:v>
                </c:pt>
                <c:pt idx="650">
                  <c:v>45148</c:v>
                </c:pt>
                <c:pt idx="651">
                  <c:v>45149</c:v>
                </c:pt>
                <c:pt idx="652">
                  <c:v>45152</c:v>
                </c:pt>
                <c:pt idx="653">
                  <c:v>45153</c:v>
                </c:pt>
                <c:pt idx="654">
                  <c:v>45154</c:v>
                </c:pt>
                <c:pt idx="655">
                  <c:v>45155</c:v>
                </c:pt>
                <c:pt idx="656">
                  <c:v>45156</c:v>
                </c:pt>
                <c:pt idx="657">
                  <c:v>45159</c:v>
                </c:pt>
                <c:pt idx="658">
                  <c:v>45160</c:v>
                </c:pt>
                <c:pt idx="659">
                  <c:v>45161</c:v>
                </c:pt>
                <c:pt idx="660">
                  <c:v>45162</c:v>
                </c:pt>
                <c:pt idx="661">
                  <c:v>45163</c:v>
                </c:pt>
                <c:pt idx="662">
                  <c:v>45166</c:v>
                </c:pt>
                <c:pt idx="663">
                  <c:v>45167</c:v>
                </c:pt>
                <c:pt idx="664">
                  <c:v>45168</c:v>
                </c:pt>
                <c:pt idx="665">
                  <c:v>45169</c:v>
                </c:pt>
                <c:pt idx="666">
                  <c:v>45170</c:v>
                </c:pt>
                <c:pt idx="667">
                  <c:v>45174</c:v>
                </c:pt>
                <c:pt idx="668">
                  <c:v>45175</c:v>
                </c:pt>
                <c:pt idx="669">
                  <c:v>45176</c:v>
                </c:pt>
                <c:pt idx="670">
                  <c:v>45177</c:v>
                </c:pt>
                <c:pt idx="671">
                  <c:v>45180</c:v>
                </c:pt>
                <c:pt idx="672">
                  <c:v>45181</c:v>
                </c:pt>
                <c:pt idx="673">
                  <c:v>45182</c:v>
                </c:pt>
                <c:pt idx="674">
                  <c:v>45183</c:v>
                </c:pt>
                <c:pt idx="675">
                  <c:v>45184</c:v>
                </c:pt>
                <c:pt idx="676">
                  <c:v>45187</c:v>
                </c:pt>
                <c:pt idx="677">
                  <c:v>45188</c:v>
                </c:pt>
                <c:pt idx="678">
                  <c:v>45189</c:v>
                </c:pt>
                <c:pt idx="679">
                  <c:v>45190</c:v>
                </c:pt>
                <c:pt idx="680">
                  <c:v>45191</c:v>
                </c:pt>
                <c:pt idx="681">
                  <c:v>45194</c:v>
                </c:pt>
                <c:pt idx="682">
                  <c:v>45195</c:v>
                </c:pt>
                <c:pt idx="683">
                  <c:v>45196</c:v>
                </c:pt>
                <c:pt idx="684">
                  <c:v>45197</c:v>
                </c:pt>
                <c:pt idx="685">
                  <c:v>45198</c:v>
                </c:pt>
                <c:pt idx="686">
                  <c:v>45201</c:v>
                </c:pt>
                <c:pt idx="687">
                  <c:v>45202</c:v>
                </c:pt>
                <c:pt idx="688">
                  <c:v>45203</c:v>
                </c:pt>
                <c:pt idx="689">
                  <c:v>45204</c:v>
                </c:pt>
                <c:pt idx="690">
                  <c:v>45205</c:v>
                </c:pt>
                <c:pt idx="691">
                  <c:v>45209</c:v>
                </c:pt>
                <c:pt idx="692">
                  <c:v>45210</c:v>
                </c:pt>
                <c:pt idx="693">
                  <c:v>45211</c:v>
                </c:pt>
                <c:pt idx="694">
                  <c:v>45212</c:v>
                </c:pt>
                <c:pt idx="695">
                  <c:v>45215</c:v>
                </c:pt>
                <c:pt idx="696">
                  <c:v>45216</c:v>
                </c:pt>
                <c:pt idx="697">
                  <c:v>45217</c:v>
                </c:pt>
                <c:pt idx="698">
                  <c:v>45218</c:v>
                </c:pt>
                <c:pt idx="699">
                  <c:v>45219</c:v>
                </c:pt>
                <c:pt idx="700">
                  <c:v>45222</c:v>
                </c:pt>
                <c:pt idx="701">
                  <c:v>45223</c:v>
                </c:pt>
                <c:pt idx="702">
                  <c:v>45224</c:v>
                </c:pt>
                <c:pt idx="703">
                  <c:v>45225</c:v>
                </c:pt>
                <c:pt idx="704">
                  <c:v>45226</c:v>
                </c:pt>
                <c:pt idx="705">
                  <c:v>45229</c:v>
                </c:pt>
                <c:pt idx="706">
                  <c:v>45230</c:v>
                </c:pt>
                <c:pt idx="707">
                  <c:v>45231</c:v>
                </c:pt>
                <c:pt idx="708">
                  <c:v>45232</c:v>
                </c:pt>
                <c:pt idx="709">
                  <c:v>45233</c:v>
                </c:pt>
                <c:pt idx="710">
                  <c:v>45236</c:v>
                </c:pt>
              </c:numCache>
            </c:numRef>
          </c:cat>
          <c:val>
            <c:numRef>
              <c:f>Hoja1!$B$2:$B$712</c:f>
              <c:numCache>
                <c:formatCode>0.0%</c:formatCode>
                <c:ptCount val="711"/>
                <c:pt idx="0">
                  <c:v>6.053E-2</c:v>
                </c:pt>
                <c:pt idx="1">
                  <c:v>6.1359999999999998E-2</c:v>
                </c:pt>
                <c:pt idx="2">
                  <c:v>6.1849999999999995E-2</c:v>
                </c:pt>
                <c:pt idx="3">
                  <c:v>6.123E-2</c:v>
                </c:pt>
                <c:pt idx="4">
                  <c:v>6.046E-2</c:v>
                </c:pt>
                <c:pt idx="5">
                  <c:v>6.2199999999999998E-2</c:v>
                </c:pt>
                <c:pt idx="6">
                  <c:v>6.3200000000000006E-2</c:v>
                </c:pt>
                <c:pt idx="7">
                  <c:v>6.2910000000000008E-2</c:v>
                </c:pt>
                <c:pt idx="8">
                  <c:v>6.3670000000000004E-2</c:v>
                </c:pt>
                <c:pt idx="9">
                  <c:v>6.4689999999999998E-2</c:v>
                </c:pt>
                <c:pt idx="10">
                  <c:v>6.4850000000000005E-2</c:v>
                </c:pt>
                <c:pt idx="11">
                  <c:v>6.4119999999999996E-2</c:v>
                </c:pt>
                <c:pt idx="12">
                  <c:v>6.3460000000000003E-2</c:v>
                </c:pt>
                <c:pt idx="13">
                  <c:v>6.3979999999999995E-2</c:v>
                </c:pt>
                <c:pt idx="14">
                  <c:v>6.4020000000000007E-2</c:v>
                </c:pt>
                <c:pt idx="15">
                  <c:v>6.447E-2</c:v>
                </c:pt>
                <c:pt idx="16">
                  <c:v>6.6059999999999994E-2</c:v>
                </c:pt>
                <c:pt idx="17">
                  <c:v>6.5189999999999998E-2</c:v>
                </c:pt>
                <c:pt idx="18">
                  <c:v>6.6119999999999998E-2</c:v>
                </c:pt>
                <c:pt idx="19">
                  <c:v>6.6110000000000002E-2</c:v>
                </c:pt>
                <c:pt idx="20">
                  <c:v>6.5619999999999998E-2</c:v>
                </c:pt>
                <c:pt idx="21">
                  <c:v>6.5279999999999991E-2</c:v>
                </c:pt>
                <c:pt idx="22">
                  <c:v>6.3640000000000002E-2</c:v>
                </c:pt>
                <c:pt idx="23">
                  <c:v>6.2839999999999993E-2</c:v>
                </c:pt>
                <c:pt idx="24">
                  <c:v>6.2759999999999996E-2</c:v>
                </c:pt>
                <c:pt idx="25">
                  <c:v>6.2880000000000005E-2</c:v>
                </c:pt>
                <c:pt idx="26">
                  <c:v>6.2309999999999997E-2</c:v>
                </c:pt>
                <c:pt idx="27">
                  <c:v>6.2039999999999998E-2</c:v>
                </c:pt>
                <c:pt idx="28">
                  <c:v>6.1699999999999998E-2</c:v>
                </c:pt>
                <c:pt idx="29">
                  <c:v>6.2780000000000002E-2</c:v>
                </c:pt>
                <c:pt idx="30">
                  <c:v>6.1829999999999996E-2</c:v>
                </c:pt>
                <c:pt idx="31">
                  <c:v>5.9800000000000006E-2</c:v>
                </c:pt>
                <c:pt idx="32">
                  <c:v>6.0479999999999999E-2</c:v>
                </c:pt>
                <c:pt idx="33">
                  <c:v>6.1989999999999996E-2</c:v>
                </c:pt>
                <c:pt idx="34">
                  <c:v>6.1699999999999998E-2</c:v>
                </c:pt>
                <c:pt idx="35">
                  <c:v>6.1980000000000007E-2</c:v>
                </c:pt>
                <c:pt idx="36">
                  <c:v>6.5619999999999998E-2</c:v>
                </c:pt>
                <c:pt idx="37">
                  <c:v>6.4489999999999992E-2</c:v>
                </c:pt>
                <c:pt idx="38">
                  <c:v>6.2800000000000009E-2</c:v>
                </c:pt>
                <c:pt idx="39">
                  <c:v>6.207E-2</c:v>
                </c:pt>
                <c:pt idx="40">
                  <c:v>6.3329999999999997E-2</c:v>
                </c:pt>
                <c:pt idx="41">
                  <c:v>6.4589999999999995E-2</c:v>
                </c:pt>
                <c:pt idx="42">
                  <c:v>6.5869999999999998E-2</c:v>
                </c:pt>
                <c:pt idx="43">
                  <c:v>6.9029999999999994E-2</c:v>
                </c:pt>
                <c:pt idx="44">
                  <c:v>6.7790000000000003E-2</c:v>
                </c:pt>
                <c:pt idx="45">
                  <c:v>6.5419999999999992E-2</c:v>
                </c:pt>
                <c:pt idx="46">
                  <c:v>6.4199999999999993E-2</c:v>
                </c:pt>
                <c:pt idx="47">
                  <c:v>6.5780000000000005E-2</c:v>
                </c:pt>
                <c:pt idx="48">
                  <c:v>6.6110000000000002E-2</c:v>
                </c:pt>
                <c:pt idx="49">
                  <c:v>6.479E-2</c:v>
                </c:pt>
                <c:pt idx="50">
                  <c:v>6.4329999999999998E-2</c:v>
                </c:pt>
                <c:pt idx="51">
                  <c:v>6.5540000000000001E-2</c:v>
                </c:pt>
                <c:pt idx="52">
                  <c:v>6.3879999999999992E-2</c:v>
                </c:pt>
                <c:pt idx="53">
                  <c:v>6.2539999999999998E-2</c:v>
                </c:pt>
                <c:pt idx="54">
                  <c:v>6.3550000000000009E-2</c:v>
                </c:pt>
                <c:pt idx="55">
                  <c:v>6.411E-2</c:v>
                </c:pt>
                <c:pt idx="56">
                  <c:v>6.4860000000000001E-2</c:v>
                </c:pt>
                <c:pt idx="57">
                  <c:v>6.5229999999999996E-2</c:v>
                </c:pt>
                <c:pt idx="58">
                  <c:v>6.5750000000000003E-2</c:v>
                </c:pt>
                <c:pt idx="59">
                  <c:v>6.5810000000000007E-2</c:v>
                </c:pt>
                <c:pt idx="60">
                  <c:v>6.5500000000000003E-2</c:v>
                </c:pt>
                <c:pt idx="61">
                  <c:v>6.4509999999999998E-2</c:v>
                </c:pt>
                <c:pt idx="62">
                  <c:v>6.3710000000000003E-2</c:v>
                </c:pt>
                <c:pt idx="63">
                  <c:v>6.2950000000000006E-2</c:v>
                </c:pt>
                <c:pt idx="64">
                  <c:v>6.3759999999999997E-2</c:v>
                </c:pt>
                <c:pt idx="65">
                  <c:v>6.2920000000000004E-2</c:v>
                </c:pt>
                <c:pt idx="66">
                  <c:v>6.268E-2</c:v>
                </c:pt>
                <c:pt idx="67">
                  <c:v>6.2789999999999999E-2</c:v>
                </c:pt>
                <c:pt idx="68">
                  <c:v>6.2829999999999997E-2</c:v>
                </c:pt>
                <c:pt idx="69">
                  <c:v>6.2619999999999995E-2</c:v>
                </c:pt>
                <c:pt idx="70">
                  <c:v>6.1550000000000001E-2</c:v>
                </c:pt>
                <c:pt idx="71">
                  <c:v>6.1630000000000004E-2</c:v>
                </c:pt>
                <c:pt idx="72">
                  <c:v>6.1609999999999998E-2</c:v>
                </c:pt>
                <c:pt idx="73">
                  <c:v>6.2390000000000001E-2</c:v>
                </c:pt>
                <c:pt idx="74">
                  <c:v>6.2350000000000003E-2</c:v>
                </c:pt>
                <c:pt idx="75">
                  <c:v>6.2380000000000005E-2</c:v>
                </c:pt>
                <c:pt idx="76">
                  <c:v>6.2659999999999993E-2</c:v>
                </c:pt>
                <c:pt idx="77">
                  <c:v>6.3500000000000001E-2</c:v>
                </c:pt>
                <c:pt idx="78">
                  <c:v>6.5000000000000002E-2</c:v>
                </c:pt>
                <c:pt idx="79">
                  <c:v>6.5369999999999998E-2</c:v>
                </c:pt>
                <c:pt idx="80">
                  <c:v>6.4600000000000005E-2</c:v>
                </c:pt>
                <c:pt idx="81">
                  <c:v>6.4349999999999991E-2</c:v>
                </c:pt>
                <c:pt idx="82">
                  <c:v>6.4390000000000003E-2</c:v>
                </c:pt>
                <c:pt idx="83">
                  <c:v>6.4180000000000001E-2</c:v>
                </c:pt>
                <c:pt idx="84">
                  <c:v>6.3949999999999993E-2</c:v>
                </c:pt>
                <c:pt idx="85">
                  <c:v>6.3570000000000002E-2</c:v>
                </c:pt>
                <c:pt idx="86">
                  <c:v>6.3109999999999999E-2</c:v>
                </c:pt>
                <c:pt idx="87">
                  <c:v>6.2880000000000005E-2</c:v>
                </c:pt>
                <c:pt idx="88">
                  <c:v>6.3949999999999993E-2</c:v>
                </c:pt>
                <c:pt idx="89">
                  <c:v>6.5019999999999994E-2</c:v>
                </c:pt>
                <c:pt idx="90">
                  <c:v>6.5299999999999997E-2</c:v>
                </c:pt>
                <c:pt idx="91">
                  <c:v>6.4630000000000007E-2</c:v>
                </c:pt>
                <c:pt idx="92">
                  <c:v>6.4630000000000007E-2</c:v>
                </c:pt>
                <c:pt idx="93">
                  <c:v>6.4770000000000008E-2</c:v>
                </c:pt>
                <c:pt idx="94">
                  <c:v>6.5509999999999999E-2</c:v>
                </c:pt>
                <c:pt idx="95">
                  <c:v>6.5140000000000003E-2</c:v>
                </c:pt>
                <c:pt idx="96">
                  <c:v>6.497E-2</c:v>
                </c:pt>
                <c:pt idx="97">
                  <c:v>6.4839999999999995E-2</c:v>
                </c:pt>
                <c:pt idx="98">
                  <c:v>6.4149999999999999E-2</c:v>
                </c:pt>
                <c:pt idx="99">
                  <c:v>6.3490000000000005E-2</c:v>
                </c:pt>
                <c:pt idx="100">
                  <c:v>6.3990000000000005E-2</c:v>
                </c:pt>
                <c:pt idx="101">
                  <c:v>6.3589999999999994E-2</c:v>
                </c:pt>
                <c:pt idx="102">
                  <c:v>6.2829999999999997E-2</c:v>
                </c:pt>
                <c:pt idx="103">
                  <c:v>6.2060000000000004E-2</c:v>
                </c:pt>
                <c:pt idx="104">
                  <c:v>6.2710000000000002E-2</c:v>
                </c:pt>
                <c:pt idx="105">
                  <c:v>6.2199999999999998E-2</c:v>
                </c:pt>
                <c:pt idx="106">
                  <c:v>6.1740000000000003E-2</c:v>
                </c:pt>
                <c:pt idx="107">
                  <c:v>6.1239999999999996E-2</c:v>
                </c:pt>
                <c:pt idx="108">
                  <c:v>6.0299999999999999E-2</c:v>
                </c:pt>
                <c:pt idx="109">
                  <c:v>6.0080000000000001E-2</c:v>
                </c:pt>
                <c:pt idx="110">
                  <c:v>5.9889999999999999E-2</c:v>
                </c:pt>
                <c:pt idx="111">
                  <c:v>6.1050000000000007E-2</c:v>
                </c:pt>
                <c:pt idx="112">
                  <c:v>6.1769999999999999E-2</c:v>
                </c:pt>
                <c:pt idx="113">
                  <c:v>6.2140000000000001E-2</c:v>
                </c:pt>
                <c:pt idx="114">
                  <c:v>6.1689999999999995E-2</c:v>
                </c:pt>
                <c:pt idx="115">
                  <c:v>6.1609999999999998E-2</c:v>
                </c:pt>
                <c:pt idx="116">
                  <c:v>6.191E-2</c:v>
                </c:pt>
                <c:pt idx="117">
                  <c:v>6.2659999999999993E-2</c:v>
                </c:pt>
                <c:pt idx="118">
                  <c:v>6.2890000000000001E-2</c:v>
                </c:pt>
                <c:pt idx="119">
                  <c:v>6.3149999999999998E-2</c:v>
                </c:pt>
                <c:pt idx="120">
                  <c:v>6.3399999999999998E-2</c:v>
                </c:pt>
                <c:pt idx="121">
                  <c:v>6.3259999999999997E-2</c:v>
                </c:pt>
                <c:pt idx="122">
                  <c:v>6.3479999999999995E-2</c:v>
                </c:pt>
                <c:pt idx="123">
                  <c:v>6.3339999999999994E-2</c:v>
                </c:pt>
                <c:pt idx="124">
                  <c:v>6.2530000000000002E-2</c:v>
                </c:pt>
                <c:pt idx="125">
                  <c:v>6.1749999999999999E-2</c:v>
                </c:pt>
                <c:pt idx="126">
                  <c:v>6.123E-2</c:v>
                </c:pt>
                <c:pt idx="127">
                  <c:v>6.0679999999999998E-2</c:v>
                </c:pt>
                <c:pt idx="128">
                  <c:v>6.1409999999999999E-2</c:v>
                </c:pt>
                <c:pt idx="129">
                  <c:v>6.1650000000000003E-2</c:v>
                </c:pt>
                <c:pt idx="130">
                  <c:v>6.1780000000000002E-2</c:v>
                </c:pt>
                <c:pt idx="131">
                  <c:v>6.1980000000000007E-2</c:v>
                </c:pt>
                <c:pt idx="132">
                  <c:v>6.2030000000000002E-2</c:v>
                </c:pt>
                <c:pt idx="133">
                  <c:v>6.2149999999999997E-2</c:v>
                </c:pt>
                <c:pt idx="134">
                  <c:v>6.2380000000000005E-2</c:v>
                </c:pt>
                <c:pt idx="135">
                  <c:v>6.3479999999999995E-2</c:v>
                </c:pt>
                <c:pt idx="136">
                  <c:v>6.3019999999999993E-2</c:v>
                </c:pt>
                <c:pt idx="137">
                  <c:v>6.2689999999999996E-2</c:v>
                </c:pt>
                <c:pt idx="138">
                  <c:v>6.2869999999999995E-2</c:v>
                </c:pt>
                <c:pt idx="139">
                  <c:v>6.2960000000000002E-2</c:v>
                </c:pt>
                <c:pt idx="140">
                  <c:v>6.2890000000000001E-2</c:v>
                </c:pt>
                <c:pt idx="141">
                  <c:v>6.3789999999999999E-2</c:v>
                </c:pt>
                <c:pt idx="142">
                  <c:v>6.2659999999999993E-2</c:v>
                </c:pt>
                <c:pt idx="143">
                  <c:v>6.2119999999999995E-2</c:v>
                </c:pt>
                <c:pt idx="144">
                  <c:v>6.1969999999999997E-2</c:v>
                </c:pt>
                <c:pt idx="145">
                  <c:v>6.1959999999999994E-2</c:v>
                </c:pt>
                <c:pt idx="146">
                  <c:v>6.2359999999999999E-2</c:v>
                </c:pt>
                <c:pt idx="147">
                  <c:v>6.2640000000000001E-2</c:v>
                </c:pt>
                <c:pt idx="148">
                  <c:v>6.3030000000000003E-2</c:v>
                </c:pt>
                <c:pt idx="149">
                  <c:v>6.336E-2</c:v>
                </c:pt>
                <c:pt idx="150">
                  <c:v>6.4240000000000005E-2</c:v>
                </c:pt>
                <c:pt idx="151">
                  <c:v>6.4160000000000009E-2</c:v>
                </c:pt>
                <c:pt idx="152">
                  <c:v>6.3600000000000004E-2</c:v>
                </c:pt>
                <c:pt idx="153">
                  <c:v>6.293E-2</c:v>
                </c:pt>
                <c:pt idx="154">
                  <c:v>6.251000000000001E-2</c:v>
                </c:pt>
                <c:pt idx="155">
                  <c:v>6.3129999999999992E-2</c:v>
                </c:pt>
                <c:pt idx="156">
                  <c:v>6.3750000000000001E-2</c:v>
                </c:pt>
                <c:pt idx="157">
                  <c:v>6.3979999999999995E-2</c:v>
                </c:pt>
                <c:pt idx="158">
                  <c:v>6.4809999999999993E-2</c:v>
                </c:pt>
                <c:pt idx="159">
                  <c:v>6.5019999999999994E-2</c:v>
                </c:pt>
                <c:pt idx="160">
                  <c:v>6.4589999999999995E-2</c:v>
                </c:pt>
                <c:pt idx="161">
                  <c:v>6.3780000000000003E-2</c:v>
                </c:pt>
                <c:pt idx="162">
                  <c:v>6.3719999999999999E-2</c:v>
                </c:pt>
                <c:pt idx="163">
                  <c:v>6.3750000000000001E-2</c:v>
                </c:pt>
                <c:pt idx="164">
                  <c:v>6.2530000000000002E-2</c:v>
                </c:pt>
                <c:pt idx="165">
                  <c:v>6.1460000000000001E-2</c:v>
                </c:pt>
                <c:pt idx="166">
                  <c:v>6.2129999999999998E-2</c:v>
                </c:pt>
                <c:pt idx="167">
                  <c:v>6.2539999999999998E-2</c:v>
                </c:pt>
                <c:pt idx="168">
                  <c:v>6.2390000000000001E-2</c:v>
                </c:pt>
                <c:pt idx="169">
                  <c:v>6.2030000000000002E-2</c:v>
                </c:pt>
                <c:pt idx="170">
                  <c:v>5.9669999999999994E-2</c:v>
                </c:pt>
                <c:pt idx="171">
                  <c:v>5.9640000000000006E-2</c:v>
                </c:pt>
                <c:pt idx="172">
                  <c:v>5.9989999999999995E-2</c:v>
                </c:pt>
                <c:pt idx="173">
                  <c:v>6.0179999999999997E-2</c:v>
                </c:pt>
                <c:pt idx="174">
                  <c:v>6.0149999999999995E-2</c:v>
                </c:pt>
                <c:pt idx="175">
                  <c:v>5.8689999999999999E-2</c:v>
                </c:pt>
                <c:pt idx="176">
                  <c:v>5.7969999999999994E-2</c:v>
                </c:pt>
                <c:pt idx="177">
                  <c:v>5.9200000000000003E-2</c:v>
                </c:pt>
                <c:pt idx="178">
                  <c:v>5.9509999999999993E-2</c:v>
                </c:pt>
                <c:pt idx="179">
                  <c:v>6.0990000000000003E-2</c:v>
                </c:pt>
                <c:pt idx="180">
                  <c:v>6.0639999999999999E-2</c:v>
                </c:pt>
                <c:pt idx="181">
                  <c:v>6.0639999999999999E-2</c:v>
                </c:pt>
                <c:pt idx="182">
                  <c:v>6.1519999999999998E-2</c:v>
                </c:pt>
                <c:pt idx="183">
                  <c:v>6.2920000000000004E-2</c:v>
                </c:pt>
                <c:pt idx="184">
                  <c:v>6.3539999999999999E-2</c:v>
                </c:pt>
                <c:pt idx="185">
                  <c:v>6.4600000000000005E-2</c:v>
                </c:pt>
                <c:pt idx="186">
                  <c:v>6.3719999999999999E-2</c:v>
                </c:pt>
                <c:pt idx="187">
                  <c:v>6.3780000000000003E-2</c:v>
                </c:pt>
                <c:pt idx="188">
                  <c:v>6.3479999999999995E-2</c:v>
                </c:pt>
                <c:pt idx="189">
                  <c:v>6.3909999999999995E-2</c:v>
                </c:pt>
                <c:pt idx="190">
                  <c:v>6.3700000000000007E-2</c:v>
                </c:pt>
                <c:pt idx="191">
                  <c:v>6.3909999999999995E-2</c:v>
                </c:pt>
                <c:pt idx="192">
                  <c:v>6.3369999999999996E-2</c:v>
                </c:pt>
                <c:pt idx="193">
                  <c:v>6.3710000000000003E-2</c:v>
                </c:pt>
                <c:pt idx="194">
                  <c:v>6.3939999999999997E-2</c:v>
                </c:pt>
                <c:pt idx="195">
                  <c:v>6.3700000000000007E-2</c:v>
                </c:pt>
                <c:pt idx="196">
                  <c:v>6.2950000000000006E-2</c:v>
                </c:pt>
                <c:pt idx="197">
                  <c:v>6.3259999999999997E-2</c:v>
                </c:pt>
                <c:pt idx="198">
                  <c:v>6.3750000000000001E-2</c:v>
                </c:pt>
                <c:pt idx="199">
                  <c:v>6.4390000000000003E-2</c:v>
                </c:pt>
                <c:pt idx="200">
                  <c:v>6.4489999999999992E-2</c:v>
                </c:pt>
                <c:pt idx="201">
                  <c:v>6.454E-2</c:v>
                </c:pt>
                <c:pt idx="202">
                  <c:v>6.4229999999999995E-2</c:v>
                </c:pt>
                <c:pt idx="203">
                  <c:v>6.4280000000000004E-2</c:v>
                </c:pt>
                <c:pt idx="204">
                  <c:v>6.3890000000000002E-2</c:v>
                </c:pt>
                <c:pt idx="205">
                  <c:v>6.2489999999999997E-2</c:v>
                </c:pt>
                <c:pt idx="206">
                  <c:v>6.0999999999999999E-2</c:v>
                </c:pt>
                <c:pt idx="207">
                  <c:v>6.1679999999999999E-2</c:v>
                </c:pt>
                <c:pt idx="208">
                  <c:v>6.2920000000000004E-2</c:v>
                </c:pt>
                <c:pt idx="209">
                  <c:v>6.3090000000000007E-2</c:v>
                </c:pt>
                <c:pt idx="210">
                  <c:v>6.3230000000000008E-2</c:v>
                </c:pt>
                <c:pt idx="211">
                  <c:v>6.1989999999999996E-2</c:v>
                </c:pt>
                <c:pt idx="212">
                  <c:v>6.1620000000000001E-2</c:v>
                </c:pt>
                <c:pt idx="213">
                  <c:v>6.1879999999999998E-2</c:v>
                </c:pt>
                <c:pt idx="214">
                  <c:v>6.1799999999999994E-2</c:v>
                </c:pt>
                <c:pt idx="215">
                  <c:v>6.2579999999999997E-2</c:v>
                </c:pt>
                <c:pt idx="216">
                  <c:v>6.3E-2</c:v>
                </c:pt>
                <c:pt idx="217">
                  <c:v>6.3320000000000001E-2</c:v>
                </c:pt>
                <c:pt idx="218">
                  <c:v>6.343E-2</c:v>
                </c:pt>
                <c:pt idx="219">
                  <c:v>6.3369999999999996E-2</c:v>
                </c:pt>
                <c:pt idx="220">
                  <c:v>6.2910000000000008E-2</c:v>
                </c:pt>
                <c:pt idx="221">
                  <c:v>6.2699999999999992E-2</c:v>
                </c:pt>
                <c:pt idx="222">
                  <c:v>6.4140000000000003E-2</c:v>
                </c:pt>
                <c:pt idx="223">
                  <c:v>6.6049999999999998E-2</c:v>
                </c:pt>
                <c:pt idx="224">
                  <c:v>6.7240000000000008E-2</c:v>
                </c:pt>
                <c:pt idx="225">
                  <c:v>6.9440000000000002E-2</c:v>
                </c:pt>
                <c:pt idx="226">
                  <c:v>6.9010000000000002E-2</c:v>
                </c:pt>
                <c:pt idx="227">
                  <c:v>6.8489999999999995E-2</c:v>
                </c:pt>
                <c:pt idx="228">
                  <c:v>6.726E-2</c:v>
                </c:pt>
                <c:pt idx="229">
                  <c:v>6.6639999999999991E-2</c:v>
                </c:pt>
                <c:pt idx="230">
                  <c:v>6.5939999999999999E-2</c:v>
                </c:pt>
                <c:pt idx="231">
                  <c:v>6.448000000000001E-2</c:v>
                </c:pt>
                <c:pt idx="232">
                  <c:v>6.4589999999999995E-2</c:v>
                </c:pt>
                <c:pt idx="233">
                  <c:v>6.5070000000000003E-2</c:v>
                </c:pt>
                <c:pt idx="234">
                  <c:v>6.5659999999999996E-2</c:v>
                </c:pt>
                <c:pt idx="235">
                  <c:v>6.5610000000000002E-2</c:v>
                </c:pt>
                <c:pt idx="236">
                  <c:v>6.5599999999999992E-2</c:v>
                </c:pt>
                <c:pt idx="237">
                  <c:v>6.5640000000000004E-2</c:v>
                </c:pt>
                <c:pt idx="238">
                  <c:v>6.5689999999999998E-2</c:v>
                </c:pt>
                <c:pt idx="239">
                  <c:v>6.5030000000000004E-2</c:v>
                </c:pt>
                <c:pt idx="240">
                  <c:v>6.5269999999999995E-2</c:v>
                </c:pt>
                <c:pt idx="241">
                  <c:v>6.5759999999999999E-2</c:v>
                </c:pt>
                <c:pt idx="242">
                  <c:v>6.4059999999999992E-2</c:v>
                </c:pt>
                <c:pt idx="243">
                  <c:v>6.368E-2</c:v>
                </c:pt>
                <c:pt idx="244">
                  <c:v>6.3630000000000006E-2</c:v>
                </c:pt>
                <c:pt idx="245">
                  <c:v>6.3350000000000004E-2</c:v>
                </c:pt>
                <c:pt idx="246">
                  <c:v>6.3099999999999989E-2</c:v>
                </c:pt>
                <c:pt idx="247">
                  <c:v>6.3250000000000001E-2</c:v>
                </c:pt>
                <c:pt idx="248">
                  <c:v>6.3369999999999996E-2</c:v>
                </c:pt>
                <c:pt idx="249">
                  <c:v>6.3219999999999998E-2</c:v>
                </c:pt>
                <c:pt idx="250">
                  <c:v>6.4259999999999998E-2</c:v>
                </c:pt>
                <c:pt idx="251">
                  <c:v>6.5070000000000003E-2</c:v>
                </c:pt>
                <c:pt idx="252">
                  <c:v>6.5269999999999995E-2</c:v>
                </c:pt>
                <c:pt idx="253">
                  <c:v>6.5070000000000003E-2</c:v>
                </c:pt>
                <c:pt idx="254">
                  <c:v>6.5009999999999998E-2</c:v>
                </c:pt>
                <c:pt idx="255">
                  <c:v>6.6000000000000003E-2</c:v>
                </c:pt>
                <c:pt idx="256">
                  <c:v>6.6029999999999991E-2</c:v>
                </c:pt>
                <c:pt idx="257">
                  <c:v>6.6130000000000008E-2</c:v>
                </c:pt>
                <c:pt idx="258">
                  <c:v>6.7210000000000006E-2</c:v>
                </c:pt>
                <c:pt idx="259">
                  <c:v>6.8680000000000005E-2</c:v>
                </c:pt>
                <c:pt idx="260">
                  <c:v>6.9760000000000003E-2</c:v>
                </c:pt>
                <c:pt idx="261">
                  <c:v>6.8589999999999998E-2</c:v>
                </c:pt>
                <c:pt idx="262">
                  <c:v>6.7390000000000005E-2</c:v>
                </c:pt>
                <c:pt idx="263">
                  <c:v>6.6790000000000002E-2</c:v>
                </c:pt>
                <c:pt idx="264">
                  <c:v>6.7709999999999992E-2</c:v>
                </c:pt>
                <c:pt idx="265">
                  <c:v>6.719E-2</c:v>
                </c:pt>
                <c:pt idx="266">
                  <c:v>6.6879999999999995E-2</c:v>
                </c:pt>
                <c:pt idx="267">
                  <c:v>6.6610000000000003E-2</c:v>
                </c:pt>
                <c:pt idx="268">
                  <c:v>6.6740000000000008E-2</c:v>
                </c:pt>
                <c:pt idx="269">
                  <c:v>6.6610000000000003E-2</c:v>
                </c:pt>
                <c:pt idx="270">
                  <c:v>6.6119999999999998E-2</c:v>
                </c:pt>
                <c:pt idx="271">
                  <c:v>6.5269999999999995E-2</c:v>
                </c:pt>
                <c:pt idx="272">
                  <c:v>6.6250000000000003E-2</c:v>
                </c:pt>
                <c:pt idx="273">
                  <c:v>6.7489999999999994E-2</c:v>
                </c:pt>
                <c:pt idx="274">
                  <c:v>6.7900000000000002E-2</c:v>
                </c:pt>
                <c:pt idx="275">
                  <c:v>6.8099999999999994E-2</c:v>
                </c:pt>
                <c:pt idx="276">
                  <c:v>6.7360000000000003E-2</c:v>
                </c:pt>
                <c:pt idx="277">
                  <c:v>6.8819999999999992E-2</c:v>
                </c:pt>
                <c:pt idx="278">
                  <c:v>6.9429999999999992E-2</c:v>
                </c:pt>
                <c:pt idx="279">
                  <c:v>7.0309999999999997E-2</c:v>
                </c:pt>
                <c:pt idx="280">
                  <c:v>6.9839999999999999E-2</c:v>
                </c:pt>
                <c:pt idx="281">
                  <c:v>6.9379999999999997E-2</c:v>
                </c:pt>
                <c:pt idx="282">
                  <c:v>6.9949999999999998E-2</c:v>
                </c:pt>
                <c:pt idx="283">
                  <c:v>7.0519999999999999E-2</c:v>
                </c:pt>
                <c:pt idx="284">
                  <c:v>7.0879999999999999E-2</c:v>
                </c:pt>
                <c:pt idx="285">
                  <c:v>7.1889999999999996E-2</c:v>
                </c:pt>
                <c:pt idx="286">
                  <c:v>7.177E-2</c:v>
                </c:pt>
                <c:pt idx="287">
                  <c:v>6.9889999999999994E-2</c:v>
                </c:pt>
                <c:pt idx="288">
                  <c:v>6.9640000000000007E-2</c:v>
                </c:pt>
                <c:pt idx="289">
                  <c:v>6.9640000000000007E-2</c:v>
                </c:pt>
                <c:pt idx="290">
                  <c:v>7.0629999999999998E-2</c:v>
                </c:pt>
                <c:pt idx="291">
                  <c:v>7.0669999999999997E-2</c:v>
                </c:pt>
                <c:pt idx="292">
                  <c:v>7.2230000000000003E-2</c:v>
                </c:pt>
                <c:pt idx="293">
                  <c:v>7.4469999999999995E-2</c:v>
                </c:pt>
                <c:pt idx="294">
                  <c:v>7.4929999999999997E-2</c:v>
                </c:pt>
                <c:pt idx="295">
                  <c:v>7.3410000000000003E-2</c:v>
                </c:pt>
                <c:pt idx="296">
                  <c:v>7.3499999999999996E-2</c:v>
                </c:pt>
                <c:pt idx="297">
                  <c:v>7.2959999999999997E-2</c:v>
                </c:pt>
                <c:pt idx="298">
                  <c:v>7.4029999999999999E-2</c:v>
                </c:pt>
                <c:pt idx="299">
                  <c:v>7.4490000000000001E-2</c:v>
                </c:pt>
                <c:pt idx="300">
                  <c:v>7.3419999999999999E-2</c:v>
                </c:pt>
                <c:pt idx="301">
                  <c:v>7.2080000000000005E-2</c:v>
                </c:pt>
                <c:pt idx="302">
                  <c:v>7.0540000000000005E-2</c:v>
                </c:pt>
                <c:pt idx="303">
                  <c:v>7.1859999999999993E-2</c:v>
                </c:pt>
                <c:pt idx="304">
                  <c:v>7.2220000000000006E-2</c:v>
                </c:pt>
                <c:pt idx="305">
                  <c:v>7.2660000000000002E-2</c:v>
                </c:pt>
                <c:pt idx="306">
                  <c:v>7.1719999999999992E-2</c:v>
                </c:pt>
                <c:pt idx="307">
                  <c:v>7.1790000000000007E-2</c:v>
                </c:pt>
                <c:pt idx="308">
                  <c:v>7.0900000000000005E-2</c:v>
                </c:pt>
                <c:pt idx="309">
                  <c:v>6.9400000000000003E-2</c:v>
                </c:pt>
                <c:pt idx="310">
                  <c:v>7.0460000000000009E-2</c:v>
                </c:pt>
                <c:pt idx="311">
                  <c:v>7.1040000000000006E-2</c:v>
                </c:pt>
                <c:pt idx="312">
                  <c:v>7.1510000000000004E-2</c:v>
                </c:pt>
                <c:pt idx="313">
                  <c:v>7.0940000000000003E-2</c:v>
                </c:pt>
                <c:pt idx="314">
                  <c:v>7.2840000000000002E-2</c:v>
                </c:pt>
                <c:pt idx="315">
                  <c:v>7.3689999999999992E-2</c:v>
                </c:pt>
                <c:pt idx="316">
                  <c:v>7.4260000000000007E-2</c:v>
                </c:pt>
                <c:pt idx="317">
                  <c:v>7.5220000000000009E-2</c:v>
                </c:pt>
                <c:pt idx="318">
                  <c:v>7.8339999999999993E-2</c:v>
                </c:pt>
                <c:pt idx="319">
                  <c:v>7.7770000000000006E-2</c:v>
                </c:pt>
                <c:pt idx="320">
                  <c:v>7.7210000000000001E-2</c:v>
                </c:pt>
                <c:pt idx="321">
                  <c:v>7.8179999999999999E-2</c:v>
                </c:pt>
                <c:pt idx="322">
                  <c:v>7.9089999999999994E-2</c:v>
                </c:pt>
                <c:pt idx="323">
                  <c:v>8.022E-2</c:v>
                </c:pt>
                <c:pt idx="324">
                  <c:v>7.9379999999999992E-2</c:v>
                </c:pt>
                <c:pt idx="325">
                  <c:v>8.2490000000000008E-2</c:v>
                </c:pt>
                <c:pt idx="326">
                  <c:v>8.3409999999999998E-2</c:v>
                </c:pt>
                <c:pt idx="327">
                  <c:v>8.3160000000000012E-2</c:v>
                </c:pt>
                <c:pt idx="328">
                  <c:v>8.231999999999999E-2</c:v>
                </c:pt>
                <c:pt idx="329">
                  <c:v>8.317999999999999E-2</c:v>
                </c:pt>
                <c:pt idx="330">
                  <c:v>8.3409999999999998E-2</c:v>
                </c:pt>
                <c:pt idx="331">
                  <c:v>8.5009999999999988E-2</c:v>
                </c:pt>
                <c:pt idx="332">
                  <c:v>8.6629999999999999E-2</c:v>
                </c:pt>
                <c:pt idx="333">
                  <c:v>8.6319999999999994E-2</c:v>
                </c:pt>
                <c:pt idx="334">
                  <c:v>8.4830000000000003E-2</c:v>
                </c:pt>
                <c:pt idx="335">
                  <c:v>8.6259999999999989E-2</c:v>
                </c:pt>
                <c:pt idx="336">
                  <c:v>8.7529999999999997E-2</c:v>
                </c:pt>
                <c:pt idx="337">
                  <c:v>8.9520000000000002E-2</c:v>
                </c:pt>
                <c:pt idx="338">
                  <c:v>8.8480000000000003E-2</c:v>
                </c:pt>
                <c:pt idx="339">
                  <c:v>8.8350000000000012E-2</c:v>
                </c:pt>
                <c:pt idx="340">
                  <c:v>8.9090000000000003E-2</c:v>
                </c:pt>
                <c:pt idx="341">
                  <c:v>8.8829999999999992E-2</c:v>
                </c:pt>
                <c:pt idx="342">
                  <c:v>8.924E-2</c:v>
                </c:pt>
                <c:pt idx="343">
                  <c:v>8.9939999999999992E-2</c:v>
                </c:pt>
                <c:pt idx="344">
                  <c:v>9.1359999999999997E-2</c:v>
                </c:pt>
                <c:pt idx="345">
                  <c:v>9.2059999999999989E-2</c:v>
                </c:pt>
                <c:pt idx="346">
                  <c:v>9.1780000000000014E-2</c:v>
                </c:pt>
                <c:pt idx="347">
                  <c:v>9.1170000000000015E-2</c:v>
                </c:pt>
                <c:pt idx="348">
                  <c:v>8.9990000000000001E-2</c:v>
                </c:pt>
                <c:pt idx="349">
                  <c:v>8.763E-2</c:v>
                </c:pt>
                <c:pt idx="350">
                  <c:v>8.5909999999999986E-2</c:v>
                </c:pt>
                <c:pt idx="351">
                  <c:v>8.5129999999999997E-2</c:v>
                </c:pt>
                <c:pt idx="352">
                  <c:v>8.7230000000000002E-2</c:v>
                </c:pt>
                <c:pt idx="353">
                  <c:v>8.9469999999999994E-2</c:v>
                </c:pt>
                <c:pt idx="354">
                  <c:v>8.9419999999999999E-2</c:v>
                </c:pt>
                <c:pt idx="355">
                  <c:v>9.0429999999999996E-2</c:v>
                </c:pt>
                <c:pt idx="356">
                  <c:v>9.2330000000000009E-2</c:v>
                </c:pt>
                <c:pt idx="357">
                  <c:v>9.1400000000000009E-2</c:v>
                </c:pt>
                <c:pt idx="358">
                  <c:v>9.0859999999999996E-2</c:v>
                </c:pt>
                <c:pt idx="359">
                  <c:v>9.2300000000000007E-2</c:v>
                </c:pt>
                <c:pt idx="360">
                  <c:v>9.4899999999999998E-2</c:v>
                </c:pt>
                <c:pt idx="361">
                  <c:v>0.10233</c:v>
                </c:pt>
                <c:pt idx="362">
                  <c:v>0.10545</c:v>
                </c:pt>
                <c:pt idx="363">
                  <c:v>0.10198</c:v>
                </c:pt>
                <c:pt idx="364">
                  <c:v>0.10395</c:v>
                </c:pt>
                <c:pt idx="365">
                  <c:v>0.10348</c:v>
                </c:pt>
                <c:pt idx="366">
                  <c:v>0.10353</c:v>
                </c:pt>
                <c:pt idx="367">
                  <c:v>0.10391</c:v>
                </c:pt>
                <c:pt idx="368">
                  <c:v>0.10455</c:v>
                </c:pt>
                <c:pt idx="369">
                  <c:v>0.10541</c:v>
                </c:pt>
                <c:pt idx="370">
                  <c:v>0.10731</c:v>
                </c:pt>
                <c:pt idx="371">
                  <c:v>0.11103999999999999</c:v>
                </c:pt>
                <c:pt idx="372">
                  <c:v>0.11074000000000001</c:v>
                </c:pt>
                <c:pt idx="373">
                  <c:v>0.10946</c:v>
                </c:pt>
                <c:pt idx="374">
                  <c:v>0.10492000000000001</c:v>
                </c:pt>
                <c:pt idx="375">
                  <c:v>0.10595</c:v>
                </c:pt>
                <c:pt idx="376">
                  <c:v>0.10807</c:v>
                </c:pt>
                <c:pt idx="377">
                  <c:v>0.10711999999999999</c:v>
                </c:pt>
                <c:pt idx="378">
                  <c:v>0.10676000000000001</c:v>
                </c:pt>
                <c:pt idx="379">
                  <c:v>0.10819000000000001</c:v>
                </c:pt>
                <c:pt idx="380">
                  <c:v>0.10999</c:v>
                </c:pt>
                <c:pt idx="381">
                  <c:v>0.11127000000000001</c:v>
                </c:pt>
                <c:pt idx="382">
                  <c:v>0.11466</c:v>
                </c:pt>
                <c:pt idx="383">
                  <c:v>0.11451</c:v>
                </c:pt>
                <c:pt idx="384">
                  <c:v>0.11314</c:v>
                </c:pt>
                <c:pt idx="385">
                  <c:v>0.1108</c:v>
                </c:pt>
                <c:pt idx="386">
                  <c:v>0.10804999999999999</c:v>
                </c:pt>
                <c:pt idx="387">
                  <c:v>0.10634</c:v>
                </c:pt>
                <c:pt idx="388">
                  <c:v>0.10423</c:v>
                </c:pt>
                <c:pt idx="389">
                  <c:v>0.10349</c:v>
                </c:pt>
                <c:pt idx="390">
                  <c:v>0.10493000000000001</c:v>
                </c:pt>
                <c:pt idx="391">
                  <c:v>0.10432000000000001</c:v>
                </c:pt>
                <c:pt idx="392">
                  <c:v>9.9990000000000009E-2</c:v>
                </c:pt>
                <c:pt idx="393">
                  <c:v>9.8780000000000007E-2</c:v>
                </c:pt>
                <c:pt idx="394">
                  <c:v>9.9229999999999999E-2</c:v>
                </c:pt>
                <c:pt idx="395">
                  <c:v>0.10085000000000001</c:v>
                </c:pt>
                <c:pt idx="396">
                  <c:v>9.9410000000000012E-2</c:v>
                </c:pt>
                <c:pt idx="397">
                  <c:v>9.6159999999999995E-2</c:v>
                </c:pt>
                <c:pt idx="398">
                  <c:v>9.6980000000000011E-2</c:v>
                </c:pt>
                <c:pt idx="399">
                  <c:v>9.5229999999999995E-2</c:v>
                </c:pt>
                <c:pt idx="400">
                  <c:v>9.8040000000000002E-2</c:v>
                </c:pt>
                <c:pt idx="401">
                  <c:v>9.3170000000000003E-2</c:v>
                </c:pt>
                <c:pt idx="402">
                  <c:v>9.2560000000000003E-2</c:v>
                </c:pt>
                <c:pt idx="403">
                  <c:v>9.282E-2</c:v>
                </c:pt>
                <c:pt idx="404">
                  <c:v>9.3900000000000011E-2</c:v>
                </c:pt>
                <c:pt idx="405">
                  <c:v>9.5680000000000001E-2</c:v>
                </c:pt>
                <c:pt idx="406">
                  <c:v>9.8789999999999989E-2</c:v>
                </c:pt>
                <c:pt idx="407">
                  <c:v>9.7470000000000001E-2</c:v>
                </c:pt>
                <c:pt idx="408">
                  <c:v>9.9169999999999994E-2</c:v>
                </c:pt>
                <c:pt idx="409">
                  <c:v>0.10102999999999999</c:v>
                </c:pt>
                <c:pt idx="410">
                  <c:v>9.8629999999999995E-2</c:v>
                </c:pt>
                <c:pt idx="411">
                  <c:v>9.7710000000000005E-2</c:v>
                </c:pt>
                <c:pt idx="412">
                  <c:v>9.7409999999999997E-2</c:v>
                </c:pt>
                <c:pt idx="413">
                  <c:v>9.8119999999999999E-2</c:v>
                </c:pt>
                <c:pt idx="414">
                  <c:v>0.10095000000000001</c:v>
                </c:pt>
                <c:pt idx="415">
                  <c:v>0.10284</c:v>
                </c:pt>
                <c:pt idx="416">
                  <c:v>0.10416</c:v>
                </c:pt>
                <c:pt idx="417">
                  <c:v>0.10512000000000001</c:v>
                </c:pt>
                <c:pt idx="418">
                  <c:v>0.10361000000000001</c:v>
                </c:pt>
                <c:pt idx="419">
                  <c:v>0.10464999999999999</c:v>
                </c:pt>
                <c:pt idx="420">
                  <c:v>0.10289</c:v>
                </c:pt>
                <c:pt idx="421">
                  <c:v>0.10289999999999999</c:v>
                </c:pt>
                <c:pt idx="422">
                  <c:v>0.10285999999999999</c:v>
                </c:pt>
                <c:pt idx="423">
                  <c:v>0.1024</c:v>
                </c:pt>
                <c:pt idx="424">
                  <c:v>0.10528</c:v>
                </c:pt>
                <c:pt idx="425">
                  <c:v>0.10516</c:v>
                </c:pt>
                <c:pt idx="426">
                  <c:v>0.10493000000000001</c:v>
                </c:pt>
                <c:pt idx="427">
                  <c:v>0.10693</c:v>
                </c:pt>
                <c:pt idx="428">
                  <c:v>0.10722</c:v>
                </c:pt>
                <c:pt idx="429">
                  <c:v>0.10976000000000001</c:v>
                </c:pt>
                <c:pt idx="430">
                  <c:v>0.11108000000000001</c:v>
                </c:pt>
                <c:pt idx="431">
                  <c:v>0.11352000000000001</c:v>
                </c:pt>
                <c:pt idx="432">
                  <c:v>0.11681</c:v>
                </c:pt>
                <c:pt idx="433">
                  <c:v>0.12071</c:v>
                </c:pt>
                <c:pt idx="434">
                  <c:v>0.12301999999999999</c:v>
                </c:pt>
                <c:pt idx="435">
                  <c:v>0.12166</c:v>
                </c:pt>
                <c:pt idx="436">
                  <c:v>0.12289</c:v>
                </c:pt>
                <c:pt idx="437">
                  <c:v>0.12264</c:v>
                </c:pt>
                <c:pt idx="438">
                  <c:v>0.11964999999999999</c:v>
                </c:pt>
                <c:pt idx="439">
                  <c:v>0.11581</c:v>
                </c:pt>
                <c:pt idx="440">
                  <c:v>0.11753</c:v>
                </c:pt>
                <c:pt idx="441">
                  <c:v>0.11712</c:v>
                </c:pt>
                <c:pt idx="442">
                  <c:v>0.11799</c:v>
                </c:pt>
                <c:pt idx="443">
                  <c:v>0.11939999999999999</c:v>
                </c:pt>
                <c:pt idx="444">
                  <c:v>0.11907</c:v>
                </c:pt>
                <c:pt idx="445">
                  <c:v>0.12003999999999999</c:v>
                </c:pt>
                <c:pt idx="446">
                  <c:v>0.11978</c:v>
                </c:pt>
                <c:pt idx="447">
                  <c:v>0.11739000000000001</c:v>
                </c:pt>
                <c:pt idx="448">
                  <c:v>0.11462</c:v>
                </c:pt>
                <c:pt idx="449">
                  <c:v>0.11653000000000001</c:v>
                </c:pt>
                <c:pt idx="450">
                  <c:v>0.11749000000000001</c:v>
                </c:pt>
                <c:pt idx="451">
                  <c:v>0.11704000000000001</c:v>
                </c:pt>
                <c:pt idx="452">
                  <c:v>0.11416</c:v>
                </c:pt>
                <c:pt idx="453">
                  <c:v>0.11098000000000001</c:v>
                </c:pt>
                <c:pt idx="454">
                  <c:v>0.11074000000000001</c:v>
                </c:pt>
                <c:pt idx="455">
                  <c:v>0.11065</c:v>
                </c:pt>
                <c:pt idx="456">
                  <c:v>0.10990999999999999</c:v>
                </c:pt>
                <c:pt idx="457">
                  <c:v>0.1118</c:v>
                </c:pt>
                <c:pt idx="458">
                  <c:v>0.11021</c:v>
                </c:pt>
                <c:pt idx="459">
                  <c:v>0.11055</c:v>
                </c:pt>
                <c:pt idx="460">
                  <c:v>0.11178</c:v>
                </c:pt>
                <c:pt idx="461">
                  <c:v>0.11079</c:v>
                </c:pt>
                <c:pt idx="462">
                  <c:v>0.10881</c:v>
                </c:pt>
                <c:pt idx="463">
                  <c:v>0.10894999999999999</c:v>
                </c:pt>
                <c:pt idx="464">
                  <c:v>0.111</c:v>
                </c:pt>
                <c:pt idx="465">
                  <c:v>0.1051</c:v>
                </c:pt>
                <c:pt idx="466">
                  <c:v>0.10493999999999999</c:v>
                </c:pt>
                <c:pt idx="467">
                  <c:v>0.10305999999999998</c:v>
                </c:pt>
                <c:pt idx="468">
                  <c:v>0.10305</c:v>
                </c:pt>
                <c:pt idx="469">
                  <c:v>0.10476000000000001</c:v>
                </c:pt>
                <c:pt idx="470">
                  <c:v>0.10493000000000001</c:v>
                </c:pt>
                <c:pt idx="471">
                  <c:v>0.10595</c:v>
                </c:pt>
                <c:pt idx="472">
                  <c:v>0.1065</c:v>
                </c:pt>
                <c:pt idx="473">
                  <c:v>0.10659</c:v>
                </c:pt>
                <c:pt idx="474">
                  <c:v>0.10682</c:v>
                </c:pt>
                <c:pt idx="475">
                  <c:v>0.10855000000000001</c:v>
                </c:pt>
                <c:pt idx="476">
                  <c:v>0.10822</c:v>
                </c:pt>
                <c:pt idx="477">
                  <c:v>0.10596</c:v>
                </c:pt>
                <c:pt idx="478">
                  <c:v>0.10131</c:v>
                </c:pt>
                <c:pt idx="479">
                  <c:v>0.10213</c:v>
                </c:pt>
                <c:pt idx="480">
                  <c:v>0.10516</c:v>
                </c:pt>
                <c:pt idx="481">
                  <c:v>0.10784000000000001</c:v>
                </c:pt>
                <c:pt idx="482">
                  <c:v>0.10644999999999999</c:v>
                </c:pt>
                <c:pt idx="483">
                  <c:v>0.10488</c:v>
                </c:pt>
                <c:pt idx="484">
                  <c:v>0.1042</c:v>
                </c:pt>
                <c:pt idx="485">
                  <c:v>0.10416</c:v>
                </c:pt>
                <c:pt idx="486">
                  <c:v>0.10223</c:v>
                </c:pt>
                <c:pt idx="487">
                  <c:v>0.1017</c:v>
                </c:pt>
                <c:pt idx="488">
                  <c:v>0.10243000000000001</c:v>
                </c:pt>
                <c:pt idx="489">
                  <c:v>0.10361000000000001</c:v>
                </c:pt>
                <c:pt idx="490">
                  <c:v>0.10563</c:v>
                </c:pt>
                <c:pt idx="491">
                  <c:v>0.10596</c:v>
                </c:pt>
                <c:pt idx="492">
                  <c:v>0.10324999999999999</c:v>
                </c:pt>
                <c:pt idx="493">
                  <c:v>0.10289</c:v>
                </c:pt>
                <c:pt idx="494">
                  <c:v>0.10301</c:v>
                </c:pt>
                <c:pt idx="495">
                  <c:v>0.10382999999999999</c:v>
                </c:pt>
                <c:pt idx="496">
                  <c:v>0.10449</c:v>
                </c:pt>
                <c:pt idx="497">
                  <c:v>0.10390000000000001</c:v>
                </c:pt>
                <c:pt idx="498">
                  <c:v>0.10417999999999999</c:v>
                </c:pt>
                <c:pt idx="499">
                  <c:v>0.10289999999999999</c:v>
                </c:pt>
                <c:pt idx="500">
                  <c:v>0.1018</c:v>
                </c:pt>
                <c:pt idx="501">
                  <c:v>0.10329000000000001</c:v>
                </c:pt>
                <c:pt idx="502">
                  <c:v>0.1014</c:v>
                </c:pt>
                <c:pt idx="503">
                  <c:v>0.10025000000000001</c:v>
                </c:pt>
                <c:pt idx="504">
                  <c:v>0.10092000000000001</c:v>
                </c:pt>
                <c:pt idx="505">
                  <c:v>9.8770000000000011E-2</c:v>
                </c:pt>
                <c:pt idx="506">
                  <c:v>9.5920000000000005E-2</c:v>
                </c:pt>
                <c:pt idx="507">
                  <c:v>9.6099999999999991E-2</c:v>
                </c:pt>
                <c:pt idx="508">
                  <c:v>9.5920000000000005E-2</c:v>
                </c:pt>
                <c:pt idx="509">
                  <c:v>9.3420000000000003E-2</c:v>
                </c:pt>
                <c:pt idx="510">
                  <c:v>9.3710000000000002E-2</c:v>
                </c:pt>
                <c:pt idx="511">
                  <c:v>9.3870000000000009E-2</c:v>
                </c:pt>
                <c:pt idx="512">
                  <c:v>9.3350000000000002E-2</c:v>
                </c:pt>
                <c:pt idx="513">
                  <c:v>9.391999999999999E-2</c:v>
                </c:pt>
                <c:pt idx="514">
                  <c:v>9.5589999999999994E-2</c:v>
                </c:pt>
                <c:pt idx="515">
                  <c:v>9.5630000000000007E-2</c:v>
                </c:pt>
                <c:pt idx="516">
                  <c:v>9.444000000000001E-2</c:v>
                </c:pt>
                <c:pt idx="517">
                  <c:v>9.6890000000000004E-2</c:v>
                </c:pt>
                <c:pt idx="518">
                  <c:v>9.5879999999999993E-2</c:v>
                </c:pt>
                <c:pt idx="519">
                  <c:v>9.5159999999999995E-2</c:v>
                </c:pt>
                <c:pt idx="520">
                  <c:v>9.2509999999999995E-2</c:v>
                </c:pt>
                <c:pt idx="521">
                  <c:v>9.4079999999999997E-2</c:v>
                </c:pt>
                <c:pt idx="522">
                  <c:v>9.6349999999999991E-2</c:v>
                </c:pt>
                <c:pt idx="523">
                  <c:v>9.7119999999999998E-2</c:v>
                </c:pt>
                <c:pt idx="524">
                  <c:v>9.8019999999999996E-2</c:v>
                </c:pt>
                <c:pt idx="525">
                  <c:v>9.8559999999999995E-2</c:v>
                </c:pt>
                <c:pt idx="526">
                  <c:v>0.10038</c:v>
                </c:pt>
                <c:pt idx="527">
                  <c:v>9.9970000000000003E-2</c:v>
                </c:pt>
                <c:pt idx="528">
                  <c:v>0.10067</c:v>
                </c:pt>
                <c:pt idx="529">
                  <c:v>0.10156999999999999</c:v>
                </c:pt>
                <c:pt idx="530">
                  <c:v>0.10202</c:v>
                </c:pt>
                <c:pt idx="531">
                  <c:v>0.10223</c:v>
                </c:pt>
                <c:pt idx="532">
                  <c:v>0.10435</c:v>
                </c:pt>
                <c:pt idx="533">
                  <c:v>0.10406</c:v>
                </c:pt>
                <c:pt idx="534">
                  <c:v>0.10159000000000001</c:v>
                </c:pt>
                <c:pt idx="535">
                  <c:v>0.10172</c:v>
                </c:pt>
                <c:pt idx="536">
                  <c:v>0.10205</c:v>
                </c:pt>
                <c:pt idx="537">
                  <c:v>0.10377</c:v>
                </c:pt>
                <c:pt idx="538">
                  <c:v>0.10525000000000001</c:v>
                </c:pt>
                <c:pt idx="539">
                  <c:v>0.10721</c:v>
                </c:pt>
                <c:pt idx="540">
                  <c:v>0.10609</c:v>
                </c:pt>
                <c:pt idx="541">
                  <c:v>0.10528999999999999</c:v>
                </c:pt>
                <c:pt idx="542">
                  <c:v>0.1065</c:v>
                </c:pt>
                <c:pt idx="543">
                  <c:v>0.10807</c:v>
                </c:pt>
                <c:pt idx="544">
                  <c:v>0.10929</c:v>
                </c:pt>
                <c:pt idx="545">
                  <c:v>0.10884000000000001</c:v>
                </c:pt>
                <c:pt idx="546">
                  <c:v>0.11012000000000001</c:v>
                </c:pt>
                <c:pt idx="547">
                  <c:v>0.10999</c:v>
                </c:pt>
                <c:pt idx="548">
                  <c:v>0.11210000000000001</c:v>
                </c:pt>
                <c:pt idx="549">
                  <c:v>0.11272</c:v>
                </c:pt>
                <c:pt idx="550">
                  <c:v>0.11324999999999999</c:v>
                </c:pt>
                <c:pt idx="551">
                  <c:v>0.11473000000000001</c:v>
                </c:pt>
                <c:pt idx="552">
                  <c:v>0.11254</c:v>
                </c:pt>
                <c:pt idx="553">
                  <c:v>0.10978</c:v>
                </c:pt>
                <c:pt idx="554">
                  <c:v>0.10893000000000001</c:v>
                </c:pt>
                <c:pt idx="555">
                  <c:v>0.11026</c:v>
                </c:pt>
                <c:pt idx="556">
                  <c:v>0.11085</c:v>
                </c:pt>
                <c:pt idx="557">
                  <c:v>0.11099000000000001</c:v>
                </c:pt>
                <c:pt idx="558">
                  <c:v>0.10915</c:v>
                </c:pt>
                <c:pt idx="559">
                  <c:v>0.10659</c:v>
                </c:pt>
                <c:pt idx="560">
                  <c:v>0.10414999999999999</c:v>
                </c:pt>
                <c:pt idx="561">
                  <c:v>0.10317</c:v>
                </c:pt>
                <c:pt idx="562">
                  <c:v>0.10564</c:v>
                </c:pt>
                <c:pt idx="563">
                  <c:v>0.10762000000000001</c:v>
                </c:pt>
                <c:pt idx="564">
                  <c:v>0.10711</c:v>
                </c:pt>
                <c:pt idx="565">
                  <c:v>0.10715999999999999</c:v>
                </c:pt>
                <c:pt idx="566">
                  <c:v>0.10705999999999999</c:v>
                </c:pt>
                <c:pt idx="567">
                  <c:v>0.10644999999999999</c:v>
                </c:pt>
                <c:pt idx="568">
                  <c:v>0.10636</c:v>
                </c:pt>
                <c:pt idx="569">
                  <c:v>0.10601000000000001</c:v>
                </c:pt>
                <c:pt idx="570">
                  <c:v>0.10675000000000001</c:v>
                </c:pt>
                <c:pt idx="571">
                  <c:v>0.10580000000000001</c:v>
                </c:pt>
                <c:pt idx="572">
                  <c:v>0.10673000000000001</c:v>
                </c:pt>
                <c:pt idx="573">
                  <c:v>0.10708000000000001</c:v>
                </c:pt>
                <c:pt idx="574">
                  <c:v>0.10721</c:v>
                </c:pt>
                <c:pt idx="575">
                  <c:v>0.10686999999999999</c:v>
                </c:pt>
                <c:pt idx="576">
                  <c:v>0.10739000000000001</c:v>
                </c:pt>
                <c:pt idx="577">
                  <c:v>0.10868</c:v>
                </c:pt>
                <c:pt idx="578">
                  <c:v>0.11074999999999999</c:v>
                </c:pt>
                <c:pt idx="579">
                  <c:v>0.11005000000000001</c:v>
                </c:pt>
                <c:pt idx="580">
                  <c:v>0.11096</c:v>
                </c:pt>
                <c:pt idx="581">
                  <c:v>0.11083999999999999</c:v>
                </c:pt>
                <c:pt idx="582">
                  <c:v>0.11105000000000001</c:v>
                </c:pt>
                <c:pt idx="583">
                  <c:v>0.11279</c:v>
                </c:pt>
                <c:pt idx="584">
                  <c:v>0.11301</c:v>
                </c:pt>
                <c:pt idx="585">
                  <c:v>0.11361</c:v>
                </c:pt>
                <c:pt idx="586">
                  <c:v>0.11413000000000001</c:v>
                </c:pt>
                <c:pt idx="587">
                  <c:v>0.11364</c:v>
                </c:pt>
                <c:pt idx="588">
                  <c:v>0.11305</c:v>
                </c:pt>
                <c:pt idx="589">
                  <c:v>0.11381999999999999</c:v>
                </c:pt>
                <c:pt idx="590">
                  <c:v>0.11495</c:v>
                </c:pt>
                <c:pt idx="591">
                  <c:v>0.11545</c:v>
                </c:pt>
                <c:pt idx="592">
                  <c:v>0.11401</c:v>
                </c:pt>
                <c:pt idx="593">
                  <c:v>0.11428000000000001</c:v>
                </c:pt>
                <c:pt idx="594">
                  <c:v>0.11413999999999999</c:v>
                </c:pt>
                <c:pt idx="595">
                  <c:v>0.11413000000000001</c:v>
                </c:pt>
                <c:pt idx="596">
                  <c:v>0.11541</c:v>
                </c:pt>
                <c:pt idx="597">
                  <c:v>0.11689999999999999</c:v>
                </c:pt>
                <c:pt idx="598">
                  <c:v>0.11738</c:v>
                </c:pt>
                <c:pt idx="599">
                  <c:v>0.11707000000000001</c:v>
                </c:pt>
                <c:pt idx="600">
                  <c:v>0.11587</c:v>
                </c:pt>
                <c:pt idx="601">
                  <c:v>0.11627000000000001</c:v>
                </c:pt>
                <c:pt idx="602">
                  <c:v>0.11592000000000001</c:v>
                </c:pt>
                <c:pt idx="603">
                  <c:v>0.11563000000000001</c:v>
                </c:pt>
                <c:pt idx="604">
                  <c:v>0.11549</c:v>
                </c:pt>
                <c:pt idx="605">
                  <c:v>0.11535999999999999</c:v>
                </c:pt>
                <c:pt idx="606">
                  <c:v>0.11562</c:v>
                </c:pt>
                <c:pt idx="607">
                  <c:v>0.11558</c:v>
                </c:pt>
                <c:pt idx="608">
                  <c:v>0.11559</c:v>
                </c:pt>
                <c:pt idx="609">
                  <c:v>0.1153</c:v>
                </c:pt>
                <c:pt idx="610">
                  <c:v>0.11515</c:v>
                </c:pt>
                <c:pt idx="611">
                  <c:v>0.11462</c:v>
                </c:pt>
                <c:pt idx="612">
                  <c:v>0.11323</c:v>
                </c:pt>
                <c:pt idx="613">
                  <c:v>0.11106999999999999</c:v>
                </c:pt>
                <c:pt idx="614">
                  <c:v>0.11071999999999999</c:v>
                </c:pt>
                <c:pt idx="615">
                  <c:v>0.11064</c:v>
                </c:pt>
                <c:pt idx="616">
                  <c:v>0.11093</c:v>
                </c:pt>
                <c:pt idx="617">
                  <c:v>0.11127000000000001</c:v>
                </c:pt>
                <c:pt idx="618">
                  <c:v>0.11143</c:v>
                </c:pt>
                <c:pt idx="619">
                  <c:v>0.11131000000000001</c:v>
                </c:pt>
                <c:pt idx="620">
                  <c:v>0.11187</c:v>
                </c:pt>
                <c:pt idx="621">
                  <c:v>0.11305999999999999</c:v>
                </c:pt>
                <c:pt idx="622">
                  <c:v>0.11282</c:v>
                </c:pt>
                <c:pt idx="623">
                  <c:v>0.11272</c:v>
                </c:pt>
                <c:pt idx="624">
                  <c:v>0.11283</c:v>
                </c:pt>
                <c:pt idx="625">
                  <c:v>0.11432</c:v>
                </c:pt>
                <c:pt idx="626">
                  <c:v>0.11439000000000001</c:v>
                </c:pt>
                <c:pt idx="627">
                  <c:v>0.11430999999999999</c:v>
                </c:pt>
                <c:pt idx="628">
                  <c:v>0.11379</c:v>
                </c:pt>
                <c:pt idx="629">
                  <c:v>0.11192000000000001</c:v>
                </c:pt>
                <c:pt idx="630">
                  <c:v>0.10859000000000001</c:v>
                </c:pt>
                <c:pt idx="631">
                  <c:v>0.10816000000000001</c:v>
                </c:pt>
                <c:pt idx="632">
                  <c:v>0.10984999999999999</c:v>
                </c:pt>
                <c:pt idx="633">
                  <c:v>0.11083999999999999</c:v>
                </c:pt>
                <c:pt idx="634">
                  <c:v>0.11391</c:v>
                </c:pt>
                <c:pt idx="635">
                  <c:v>0.11526</c:v>
                </c:pt>
                <c:pt idx="636">
                  <c:v>0.1143</c:v>
                </c:pt>
                <c:pt idx="637">
                  <c:v>0.11523</c:v>
                </c:pt>
                <c:pt idx="638">
                  <c:v>0.11778000000000001</c:v>
                </c:pt>
                <c:pt idx="639">
                  <c:v>0.11750999999999999</c:v>
                </c:pt>
                <c:pt idx="640">
                  <c:v>0.11462</c:v>
                </c:pt>
                <c:pt idx="641">
                  <c:v>0.11064</c:v>
                </c:pt>
                <c:pt idx="642">
                  <c:v>0.11103</c:v>
                </c:pt>
                <c:pt idx="643">
                  <c:v>0.11471999999999999</c:v>
                </c:pt>
                <c:pt idx="644">
                  <c:v>0.11637</c:v>
                </c:pt>
                <c:pt idx="645">
                  <c:v>0.11642</c:v>
                </c:pt>
                <c:pt idx="646">
                  <c:v>0.11503999999999999</c:v>
                </c:pt>
                <c:pt idx="647">
                  <c:v>0.11588</c:v>
                </c:pt>
                <c:pt idx="648">
                  <c:v>0.11570999999999999</c:v>
                </c:pt>
                <c:pt idx="649">
                  <c:v>0.11606999999999999</c:v>
                </c:pt>
                <c:pt idx="650">
                  <c:v>0.11648</c:v>
                </c:pt>
                <c:pt idx="651">
                  <c:v>0.11742000000000001</c:v>
                </c:pt>
                <c:pt idx="652">
                  <c:v>0.11837999999999999</c:v>
                </c:pt>
                <c:pt idx="653">
                  <c:v>0.11795</c:v>
                </c:pt>
                <c:pt idx="654">
                  <c:v>0.11985</c:v>
                </c:pt>
                <c:pt idx="655">
                  <c:v>0.12082000000000001</c:v>
                </c:pt>
                <c:pt idx="656">
                  <c:v>0.12118000000000001</c:v>
                </c:pt>
                <c:pt idx="657">
                  <c:v>0.12166</c:v>
                </c:pt>
                <c:pt idx="658">
                  <c:v>0.12023999999999999</c:v>
                </c:pt>
                <c:pt idx="659">
                  <c:v>0.11765</c:v>
                </c:pt>
                <c:pt idx="660">
                  <c:v>0.1182</c:v>
                </c:pt>
                <c:pt idx="661">
                  <c:v>0.11840000000000001</c:v>
                </c:pt>
                <c:pt idx="662">
                  <c:v>0.11731</c:v>
                </c:pt>
                <c:pt idx="663">
                  <c:v>0.11550000000000001</c:v>
                </c:pt>
                <c:pt idx="664">
                  <c:v>0.11521000000000001</c:v>
                </c:pt>
                <c:pt idx="665">
                  <c:v>0.11555</c:v>
                </c:pt>
                <c:pt idx="666">
                  <c:v>0.11582000000000001</c:v>
                </c:pt>
                <c:pt idx="667">
                  <c:v>0.11519</c:v>
                </c:pt>
                <c:pt idx="668">
                  <c:v>0.11608</c:v>
                </c:pt>
                <c:pt idx="669">
                  <c:v>0.11364</c:v>
                </c:pt>
                <c:pt idx="670">
                  <c:v>0.11233</c:v>
                </c:pt>
                <c:pt idx="671">
                  <c:v>0.11194000000000001</c:v>
                </c:pt>
                <c:pt idx="672">
                  <c:v>0.11209</c:v>
                </c:pt>
                <c:pt idx="673">
                  <c:v>0.11125</c:v>
                </c:pt>
                <c:pt idx="674">
                  <c:v>0.11028</c:v>
                </c:pt>
                <c:pt idx="675">
                  <c:v>0.11156000000000001</c:v>
                </c:pt>
                <c:pt idx="676">
                  <c:v>0.11291999999999999</c:v>
                </c:pt>
                <c:pt idx="677">
                  <c:v>0.11374000000000001</c:v>
                </c:pt>
                <c:pt idx="678">
                  <c:v>0.11359999999999999</c:v>
                </c:pt>
                <c:pt idx="679">
                  <c:v>0.11666</c:v>
                </c:pt>
                <c:pt idx="680">
                  <c:v>0.11588</c:v>
                </c:pt>
                <c:pt idx="681">
                  <c:v>0.11692</c:v>
                </c:pt>
                <c:pt idx="682">
                  <c:v>0.11824999999999999</c:v>
                </c:pt>
                <c:pt idx="683">
                  <c:v>0.11884</c:v>
                </c:pt>
                <c:pt idx="684">
                  <c:v>0.11914999999999999</c:v>
                </c:pt>
                <c:pt idx="685">
                  <c:v>0.11877</c:v>
                </c:pt>
                <c:pt idx="686">
                  <c:v>0.12013</c:v>
                </c:pt>
                <c:pt idx="687">
                  <c:v>0.12237000000000001</c:v>
                </c:pt>
                <c:pt idx="688">
                  <c:v>0.12229</c:v>
                </c:pt>
                <c:pt idx="689">
                  <c:v>0.12286</c:v>
                </c:pt>
                <c:pt idx="690">
                  <c:v>0.12318</c:v>
                </c:pt>
                <c:pt idx="691">
                  <c:v>0.12082000000000001</c:v>
                </c:pt>
                <c:pt idx="692">
                  <c:v>0.11858</c:v>
                </c:pt>
                <c:pt idx="693">
                  <c:v>0.11967</c:v>
                </c:pt>
                <c:pt idx="694">
                  <c:v>0.11887</c:v>
                </c:pt>
                <c:pt idx="695">
                  <c:v>0.11914</c:v>
                </c:pt>
                <c:pt idx="696">
                  <c:v>0.11900000000000001</c:v>
                </c:pt>
                <c:pt idx="697">
                  <c:v>0.11925000000000001</c:v>
                </c:pt>
                <c:pt idx="698">
                  <c:v>0.11967</c:v>
                </c:pt>
                <c:pt idx="699">
                  <c:v>0.11935999999999999</c:v>
                </c:pt>
                <c:pt idx="700">
                  <c:v>0.11914999999999999</c:v>
                </c:pt>
                <c:pt idx="701">
                  <c:v>0.11831</c:v>
                </c:pt>
                <c:pt idx="702">
                  <c:v>0.11882999999999999</c:v>
                </c:pt>
                <c:pt idx="703">
                  <c:v>0.11907</c:v>
                </c:pt>
                <c:pt idx="704">
                  <c:v>0.11942999999999999</c:v>
                </c:pt>
                <c:pt idx="705">
                  <c:v>0.11985</c:v>
                </c:pt>
                <c:pt idx="706">
                  <c:v>0.12019000000000001</c:v>
                </c:pt>
                <c:pt idx="707">
                  <c:v>0.11945</c:v>
                </c:pt>
                <c:pt idx="708">
                  <c:v>0.11569000000000002</c:v>
                </c:pt>
                <c:pt idx="709">
                  <c:v>0.11335000000000001</c:v>
                </c:pt>
                <c:pt idx="710">
                  <c:v>0.11487</c:v>
                </c:pt>
              </c:numCache>
            </c:numRef>
          </c:val>
          <c:smooth val="0"/>
          <c:extLst>
            <c:ext xmlns:c16="http://schemas.microsoft.com/office/drawing/2014/chart" uri="{C3380CC4-5D6E-409C-BE32-E72D297353CC}">
              <c16:uniqueId val="{00000000-EF21-684C-8F47-470F32FBF1FC}"/>
            </c:ext>
          </c:extLst>
        </c:ser>
        <c:ser>
          <c:idx val="1"/>
          <c:order val="1"/>
          <c:tx>
            <c:strRef>
              <c:f>Hoja1!$C$1</c:f>
              <c:strCache>
                <c:ptCount val="1"/>
                <c:pt idx="0">
                  <c:v>Ecopetrol 6.875 30</c:v>
                </c:pt>
              </c:strCache>
            </c:strRef>
          </c:tx>
          <c:spPr>
            <a:ln w="28575" cap="rnd">
              <a:solidFill>
                <a:schemeClr val="accent2"/>
              </a:solidFill>
              <a:round/>
            </a:ln>
            <a:effectLst/>
          </c:spPr>
          <c:marker>
            <c:symbol val="none"/>
          </c:marker>
          <c:dLbls>
            <c:dLbl>
              <c:idx val="710"/>
              <c:layout>
                <c:manualLayout>
                  <c:x val="0"/>
                  <c:y val="1.97159505921382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676-3944-A23C-181D9DC63D6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712</c:f>
              <c:numCache>
                <c:formatCode>m/d/yy</c:formatCode>
                <c:ptCount val="711"/>
                <c:pt idx="0">
                  <c:v>44200</c:v>
                </c:pt>
                <c:pt idx="1">
                  <c:v>44201</c:v>
                </c:pt>
                <c:pt idx="2">
                  <c:v>44202</c:v>
                </c:pt>
                <c:pt idx="3">
                  <c:v>44203</c:v>
                </c:pt>
                <c:pt idx="4">
                  <c:v>44204</c:v>
                </c:pt>
                <c:pt idx="5">
                  <c:v>44207</c:v>
                </c:pt>
                <c:pt idx="6">
                  <c:v>44208</c:v>
                </c:pt>
                <c:pt idx="7">
                  <c:v>44209</c:v>
                </c:pt>
                <c:pt idx="8">
                  <c:v>44210</c:v>
                </c:pt>
                <c:pt idx="9">
                  <c:v>44211</c:v>
                </c:pt>
                <c:pt idx="10">
                  <c:v>44215</c:v>
                </c:pt>
                <c:pt idx="11">
                  <c:v>44216</c:v>
                </c:pt>
                <c:pt idx="12">
                  <c:v>44217</c:v>
                </c:pt>
                <c:pt idx="13">
                  <c:v>44218</c:v>
                </c:pt>
                <c:pt idx="14">
                  <c:v>44221</c:v>
                </c:pt>
                <c:pt idx="15">
                  <c:v>44222</c:v>
                </c:pt>
                <c:pt idx="16">
                  <c:v>44223</c:v>
                </c:pt>
                <c:pt idx="17">
                  <c:v>44224</c:v>
                </c:pt>
                <c:pt idx="18">
                  <c:v>44225</c:v>
                </c:pt>
                <c:pt idx="19">
                  <c:v>44228</c:v>
                </c:pt>
                <c:pt idx="20">
                  <c:v>44229</c:v>
                </c:pt>
                <c:pt idx="21">
                  <c:v>44230</c:v>
                </c:pt>
                <c:pt idx="22">
                  <c:v>44231</c:v>
                </c:pt>
                <c:pt idx="23">
                  <c:v>44232</c:v>
                </c:pt>
                <c:pt idx="24">
                  <c:v>44235</c:v>
                </c:pt>
                <c:pt idx="25">
                  <c:v>44236</c:v>
                </c:pt>
                <c:pt idx="26">
                  <c:v>44237</c:v>
                </c:pt>
                <c:pt idx="27">
                  <c:v>44238</c:v>
                </c:pt>
                <c:pt idx="28">
                  <c:v>44239</c:v>
                </c:pt>
                <c:pt idx="29">
                  <c:v>44243</c:v>
                </c:pt>
                <c:pt idx="30">
                  <c:v>44244</c:v>
                </c:pt>
                <c:pt idx="31">
                  <c:v>44245</c:v>
                </c:pt>
                <c:pt idx="32">
                  <c:v>44246</c:v>
                </c:pt>
                <c:pt idx="33">
                  <c:v>44249</c:v>
                </c:pt>
                <c:pt idx="34">
                  <c:v>44250</c:v>
                </c:pt>
                <c:pt idx="35">
                  <c:v>44251</c:v>
                </c:pt>
                <c:pt idx="36">
                  <c:v>44252</c:v>
                </c:pt>
                <c:pt idx="37">
                  <c:v>44253</c:v>
                </c:pt>
                <c:pt idx="38">
                  <c:v>44256</c:v>
                </c:pt>
                <c:pt idx="39">
                  <c:v>44257</c:v>
                </c:pt>
                <c:pt idx="40">
                  <c:v>44258</c:v>
                </c:pt>
                <c:pt idx="41">
                  <c:v>44259</c:v>
                </c:pt>
                <c:pt idx="42">
                  <c:v>44260</c:v>
                </c:pt>
                <c:pt idx="43">
                  <c:v>44263</c:v>
                </c:pt>
                <c:pt idx="44">
                  <c:v>44264</c:v>
                </c:pt>
                <c:pt idx="45">
                  <c:v>44265</c:v>
                </c:pt>
                <c:pt idx="46">
                  <c:v>44266</c:v>
                </c:pt>
                <c:pt idx="47">
                  <c:v>44267</c:v>
                </c:pt>
                <c:pt idx="48">
                  <c:v>44270</c:v>
                </c:pt>
                <c:pt idx="49">
                  <c:v>44271</c:v>
                </c:pt>
                <c:pt idx="50">
                  <c:v>44272</c:v>
                </c:pt>
                <c:pt idx="51">
                  <c:v>44273</c:v>
                </c:pt>
                <c:pt idx="52">
                  <c:v>44274</c:v>
                </c:pt>
                <c:pt idx="53">
                  <c:v>44277</c:v>
                </c:pt>
                <c:pt idx="54">
                  <c:v>44278</c:v>
                </c:pt>
                <c:pt idx="55">
                  <c:v>44279</c:v>
                </c:pt>
                <c:pt idx="56">
                  <c:v>44280</c:v>
                </c:pt>
                <c:pt idx="57">
                  <c:v>44281</c:v>
                </c:pt>
                <c:pt idx="58">
                  <c:v>44284</c:v>
                </c:pt>
                <c:pt idx="59">
                  <c:v>44285</c:v>
                </c:pt>
                <c:pt idx="60">
                  <c:v>44286</c:v>
                </c:pt>
                <c:pt idx="61">
                  <c:v>44287</c:v>
                </c:pt>
                <c:pt idx="62">
                  <c:v>44291</c:v>
                </c:pt>
                <c:pt idx="63">
                  <c:v>44292</c:v>
                </c:pt>
                <c:pt idx="64">
                  <c:v>44293</c:v>
                </c:pt>
                <c:pt idx="65">
                  <c:v>44294</c:v>
                </c:pt>
                <c:pt idx="66">
                  <c:v>44295</c:v>
                </c:pt>
                <c:pt idx="67">
                  <c:v>44298</c:v>
                </c:pt>
                <c:pt idx="68">
                  <c:v>44299</c:v>
                </c:pt>
                <c:pt idx="69">
                  <c:v>44300</c:v>
                </c:pt>
                <c:pt idx="70">
                  <c:v>44301</c:v>
                </c:pt>
                <c:pt idx="71">
                  <c:v>44302</c:v>
                </c:pt>
                <c:pt idx="72">
                  <c:v>44305</c:v>
                </c:pt>
                <c:pt idx="73">
                  <c:v>44306</c:v>
                </c:pt>
                <c:pt idx="74">
                  <c:v>44307</c:v>
                </c:pt>
                <c:pt idx="75">
                  <c:v>44308</c:v>
                </c:pt>
                <c:pt idx="76">
                  <c:v>44309</c:v>
                </c:pt>
                <c:pt idx="77">
                  <c:v>44312</c:v>
                </c:pt>
                <c:pt idx="78">
                  <c:v>44313</c:v>
                </c:pt>
                <c:pt idx="79">
                  <c:v>44314</c:v>
                </c:pt>
                <c:pt idx="80">
                  <c:v>44315</c:v>
                </c:pt>
                <c:pt idx="81">
                  <c:v>44316</c:v>
                </c:pt>
                <c:pt idx="82">
                  <c:v>44319</c:v>
                </c:pt>
                <c:pt idx="83">
                  <c:v>44320</c:v>
                </c:pt>
                <c:pt idx="84">
                  <c:v>44321</c:v>
                </c:pt>
                <c:pt idx="85">
                  <c:v>44322</c:v>
                </c:pt>
                <c:pt idx="86">
                  <c:v>44323</c:v>
                </c:pt>
                <c:pt idx="87">
                  <c:v>44326</c:v>
                </c:pt>
                <c:pt idx="88">
                  <c:v>44327</c:v>
                </c:pt>
                <c:pt idx="89">
                  <c:v>44328</c:v>
                </c:pt>
                <c:pt idx="90">
                  <c:v>44329</c:v>
                </c:pt>
                <c:pt idx="91">
                  <c:v>44330</c:v>
                </c:pt>
                <c:pt idx="92">
                  <c:v>44333</c:v>
                </c:pt>
                <c:pt idx="93">
                  <c:v>44334</c:v>
                </c:pt>
                <c:pt idx="94">
                  <c:v>44335</c:v>
                </c:pt>
                <c:pt idx="95">
                  <c:v>44336</c:v>
                </c:pt>
                <c:pt idx="96">
                  <c:v>44337</c:v>
                </c:pt>
                <c:pt idx="97">
                  <c:v>44340</c:v>
                </c:pt>
                <c:pt idx="98">
                  <c:v>44341</c:v>
                </c:pt>
                <c:pt idx="99">
                  <c:v>44342</c:v>
                </c:pt>
                <c:pt idx="100">
                  <c:v>44343</c:v>
                </c:pt>
                <c:pt idx="101">
                  <c:v>44344</c:v>
                </c:pt>
                <c:pt idx="102">
                  <c:v>44348</c:v>
                </c:pt>
                <c:pt idx="103">
                  <c:v>44349</c:v>
                </c:pt>
                <c:pt idx="104">
                  <c:v>44350</c:v>
                </c:pt>
                <c:pt idx="105">
                  <c:v>44351</c:v>
                </c:pt>
                <c:pt idx="106">
                  <c:v>44354</c:v>
                </c:pt>
                <c:pt idx="107">
                  <c:v>44355</c:v>
                </c:pt>
                <c:pt idx="108">
                  <c:v>44356</c:v>
                </c:pt>
                <c:pt idx="109">
                  <c:v>44357</c:v>
                </c:pt>
                <c:pt idx="110">
                  <c:v>44358</c:v>
                </c:pt>
                <c:pt idx="111">
                  <c:v>44361</c:v>
                </c:pt>
                <c:pt idx="112">
                  <c:v>44362</c:v>
                </c:pt>
                <c:pt idx="113">
                  <c:v>44363</c:v>
                </c:pt>
                <c:pt idx="114">
                  <c:v>44364</c:v>
                </c:pt>
                <c:pt idx="115">
                  <c:v>44365</c:v>
                </c:pt>
                <c:pt idx="116">
                  <c:v>44368</c:v>
                </c:pt>
                <c:pt idx="117">
                  <c:v>44369</c:v>
                </c:pt>
                <c:pt idx="118">
                  <c:v>44370</c:v>
                </c:pt>
                <c:pt idx="119">
                  <c:v>44371</c:v>
                </c:pt>
                <c:pt idx="120">
                  <c:v>44372</c:v>
                </c:pt>
                <c:pt idx="121">
                  <c:v>44375</c:v>
                </c:pt>
                <c:pt idx="122">
                  <c:v>44376</c:v>
                </c:pt>
                <c:pt idx="123">
                  <c:v>44377</c:v>
                </c:pt>
                <c:pt idx="124">
                  <c:v>44378</c:v>
                </c:pt>
                <c:pt idx="125">
                  <c:v>44379</c:v>
                </c:pt>
                <c:pt idx="126">
                  <c:v>44383</c:v>
                </c:pt>
                <c:pt idx="127">
                  <c:v>44384</c:v>
                </c:pt>
                <c:pt idx="128">
                  <c:v>44385</c:v>
                </c:pt>
                <c:pt idx="129">
                  <c:v>44386</c:v>
                </c:pt>
                <c:pt idx="130">
                  <c:v>44389</c:v>
                </c:pt>
                <c:pt idx="131">
                  <c:v>44390</c:v>
                </c:pt>
                <c:pt idx="132">
                  <c:v>44391</c:v>
                </c:pt>
                <c:pt idx="133">
                  <c:v>44392</c:v>
                </c:pt>
                <c:pt idx="134">
                  <c:v>44393</c:v>
                </c:pt>
                <c:pt idx="135">
                  <c:v>44396</c:v>
                </c:pt>
                <c:pt idx="136">
                  <c:v>44397</c:v>
                </c:pt>
                <c:pt idx="137">
                  <c:v>44398</c:v>
                </c:pt>
                <c:pt idx="138">
                  <c:v>44399</c:v>
                </c:pt>
                <c:pt idx="139">
                  <c:v>44400</c:v>
                </c:pt>
                <c:pt idx="140">
                  <c:v>44403</c:v>
                </c:pt>
                <c:pt idx="141">
                  <c:v>44404</c:v>
                </c:pt>
                <c:pt idx="142">
                  <c:v>44405</c:v>
                </c:pt>
                <c:pt idx="143">
                  <c:v>44406</c:v>
                </c:pt>
                <c:pt idx="144">
                  <c:v>44407</c:v>
                </c:pt>
                <c:pt idx="145">
                  <c:v>44410</c:v>
                </c:pt>
                <c:pt idx="146">
                  <c:v>44411</c:v>
                </c:pt>
                <c:pt idx="147">
                  <c:v>44412</c:v>
                </c:pt>
                <c:pt idx="148">
                  <c:v>44413</c:v>
                </c:pt>
                <c:pt idx="149">
                  <c:v>44414</c:v>
                </c:pt>
                <c:pt idx="150">
                  <c:v>44417</c:v>
                </c:pt>
                <c:pt idx="151">
                  <c:v>44418</c:v>
                </c:pt>
                <c:pt idx="152">
                  <c:v>44419</c:v>
                </c:pt>
                <c:pt idx="153">
                  <c:v>44420</c:v>
                </c:pt>
                <c:pt idx="154">
                  <c:v>44421</c:v>
                </c:pt>
                <c:pt idx="155">
                  <c:v>44424</c:v>
                </c:pt>
                <c:pt idx="156">
                  <c:v>44425</c:v>
                </c:pt>
                <c:pt idx="157">
                  <c:v>44426</c:v>
                </c:pt>
                <c:pt idx="158">
                  <c:v>44427</c:v>
                </c:pt>
                <c:pt idx="159">
                  <c:v>44428</c:v>
                </c:pt>
                <c:pt idx="160">
                  <c:v>44431</c:v>
                </c:pt>
                <c:pt idx="161">
                  <c:v>44432</c:v>
                </c:pt>
                <c:pt idx="162">
                  <c:v>44433</c:v>
                </c:pt>
                <c:pt idx="163">
                  <c:v>44434</c:v>
                </c:pt>
                <c:pt idx="164">
                  <c:v>44435</c:v>
                </c:pt>
                <c:pt idx="165">
                  <c:v>44438</c:v>
                </c:pt>
                <c:pt idx="166">
                  <c:v>44439</c:v>
                </c:pt>
                <c:pt idx="167">
                  <c:v>44440</c:v>
                </c:pt>
                <c:pt idx="168">
                  <c:v>44441</c:v>
                </c:pt>
                <c:pt idx="169">
                  <c:v>44442</c:v>
                </c:pt>
                <c:pt idx="170">
                  <c:v>44446</c:v>
                </c:pt>
                <c:pt idx="171">
                  <c:v>44447</c:v>
                </c:pt>
                <c:pt idx="172">
                  <c:v>44448</c:v>
                </c:pt>
                <c:pt idx="173">
                  <c:v>44449</c:v>
                </c:pt>
                <c:pt idx="174">
                  <c:v>44452</c:v>
                </c:pt>
                <c:pt idx="175">
                  <c:v>44453</c:v>
                </c:pt>
                <c:pt idx="176">
                  <c:v>44454</c:v>
                </c:pt>
                <c:pt idx="177">
                  <c:v>44455</c:v>
                </c:pt>
                <c:pt idx="178">
                  <c:v>44456</c:v>
                </c:pt>
                <c:pt idx="179">
                  <c:v>44459</c:v>
                </c:pt>
                <c:pt idx="180">
                  <c:v>44460</c:v>
                </c:pt>
                <c:pt idx="181">
                  <c:v>44461</c:v>
                </c:pt>
                <c:pt idx="182">
                  <c:v>44462</c:v>
                </c:pt>
                <c:pt idx="183">
                  <c:v>44463</c:v>
                </c:pt>
                <c:pt idx="184">
                  <c:v>44466</c:v>
                </c:pt>
                <c:pt idx="185">
                  <c:v>44467</c:v>
                </c:pt>
                <c:pt idx="186">
                  <c:v>44468</c:v>
                </c:pt>
                <c:pt idx="187">
                  <c:v>44469</c:v>
                </c:pt>
                <c:pt idx="188">
                  <c:v>44470</c:v>
                </c:pt>
                <c:pt idx="189">
                  <c:v>44473</c:v>
                </c:pt>
                <c:pt idx="190">
                  <c:v>44474</c:v>
                </c:pt>
                <c:pt idx="191">
                  <c:v>44475</c:v>
                </c:pt>
                <c:pt idx="192">
                  <c:v>44476</c:v>
                </c:pt>
                <c:pt idx="193">
                  <c:v>44477</c:v>
                </c:pt>
                <c:pt idx="194">
                  <c:v>44481</c:v>
                </c:pt>
                <c:pt idx="195">
                  <c:v>44482</c:v>
                </c:pt>
                <c:pt idx="196">
                  <c:v>44483</c:v>
                </c:pt>
                <c:pt idx="197">
                  <c:v>44484</c:v>
                </c:pt>
                <c:pt idx="198">
                  <c:v>44487</c:v>
                </c:pt>
                <c:pt idx="199">
                  <c:v>44488</c:v>
                </c:pt>
                <c:pt idx="200">
                  <c:v>44489</c:v>
                </c:pt>
                <c:pt idx="201">
                  <c:v>44490</c:v>
                </c:pt>
                <c:pt idx="202">
                  <c:v>44491</c:v>
                </c:pt>
                <c:pt idx="203">
                  <c:v>44494</c:v>
                </c:pt>
                <c:pt idx="204">
                  <c:v>44495</c:v>
                </c:pt>
                <c:pt idx="205">
                  <c:v>44496</c:v>
                </c:pt>
                <c:pt idx="206">
                  <c:v>44497</c:v>
                </c:pt>
                <c:pt idx="207">
                  <c:v>44498</c:v>
                </c:pt>
                <c:pt idx="208">
                  <c:v>44501</c:v>
                </c:pt>
                <c:pt idx="209">
                  <c:v>44502</c:v>
                </c:pt>
                <c:pt idx="210">
                  <c:v>44503</c:v>
                </c:pt>
                <c:pt idx="211">
                  <c:v>44504</c:v>
                </c:pt>
                <c:pt idx="212">
                  <c:v>44505</c:v>
                </c:pt>
                <c:pt idx="213">
                  <c:v>44508</c:v>
                </c:pt>
                <c:pt idx="214">
                  <c:v>44509</c:v>
                </c:pt>
                <c:pt idx="215">
                  <c:v>44510</c:v>
                </c:pt>
                <c:pt idx="216">
                  <c:v>44512</c:v>
                </c:pt>
                <c:pt idx="217">
                  <c:v>44515</c:v>
                </c:pt>
                <c:pt idx="218">
                  <c:v>44516</c:v>
                </c:pt>
                <c:pt idx="219">
                  <c:v>44517</c:v>
                </c:pt>
                <c:pt idx="220">
                  <c:v>44518</c:v>
                </c:pt>
                <c:pt idx="221">
                  <c:v>44519</c:v>
                </c:pt>
                <c:pt idx="222">
                  <c:v>44522</c:v>
                </c:pt>
                <c:pt idx="223">
                  <c:v>44523</c:v>
                </c:pt>
                <c:pt idx="224">
                  <c:v>44524</c:v>
                </c:pt>
                <c:pt idx="225">
                  <c:v>44526</c:v>
                </c:pt>
                <c:pt idx="226">
                  <c:v>44529</c:v>
                </c:pt>
                <c:pt idx="227">
                  <c:v>44530</c:v>
                </c:pt>
                <c:pt idx="228">
                  <c:v>44531</c:v>
                </c:pt>
                <c:pt idx="229">
                  <c:v>44532</c:v>
                </c:pt>
                <c:pt idx="230">
                  <c:v>44533</c:v>
                </c:pt>
                <c:pt idx="231">
                  <c:v>44536</c:v>
                </c:pt>
                <c:pt idx="232">
                  <c:v>44537</c:v>
                </c:pt>
                <c:pt idx="233">
                  <c:v>44538</c:v>
                </c:pt>
                <c:pt idx="234">
                  <c:v>44539</c:v>
                </c:pt>
                <c:pt idx="235">
                  <c:v>44540</c:v>
                </c:pt>
                <c:pt idx="236">
                  <c:v>44543</c:v>
                </c:pt>
                <c:pt idx="237">
                  <c:v>44544</c:v>
                </c:pt>
                <c:pt idx="238">
                  <c:v>44545</c:v>
                </c:pt>
                <c:pt idx="239">
                  <c:v>44546</c:v>
                </c:pt>
                <c:pt idx="240">
                  <c:v>44547</c:v>
                </c:pt>
                <c:pt idx="241">
                  <c:v>44550</c:v>
                </c:pt>
                <c:pt idx="242">
                  <c:v>44551</c:v>
                </c:pt>
                <c:pt idx="243">
                  <c:v>44552</c:v>
                </c:pt>
                <c:pt idx="244">
                  <c:v>44553</c:v>
                </c:pt>
                <c:pt idx="245">
                  <c:v>44557</c:v>
                </c:pt>
                <c:pt idx="246">
                  <c:v>44558</c:v>
                </c:pt>
                <c:pt idx="247">
                  <c:v>44559</c:v>
                </c:pt>
                <c:pt idx="248">
                  <c:v>44560</c:v>
                </c:pt>
                <c:pt idx="249">
                  <c:v>44561</c:v>
                </c:pt>
                <c:pt idx="250">
                  <c:v>44564</c:v>
                </c:pt>
                <c:pt idx="251">
                  <c:v>44565</c:v>
                </c:pt>
                <c:pt idx="252">
                  <c:v>44566</c:v>
                </c:pt>
                <c:pt idx="253">
                  <c:v>44567</c:v>
                </c:pt>
                <c:pt idx="254">
                  <c:v>44568</c:v>
                </c:pt>
                <c:pt idx="255">
                  <c:v>44571</c:v>
                </c:pt>
                <c:pt idx="256">
                  <c:v>44572</c:v>
                </c:pt>
                <c:pt idx="257">
                  <c:v>44573</c:v>
                </c:pt>
                <c:pt idx="258">
                  <c:v>44574</c:v>
                </c:pt>
                <c:pt idx="259">
                  <c:v>44575</c:v>
                </c:pt>
                <c:pt idx="260">
                  <c:v>44579</c:v>
                </c:pt>
                <c:pt idx="261">
                  <c:v>44580</c:v>
                </c:pt>
                <c:pt idx="262">
                  <c:v>44581</c:v>
                </c:pt>
                <c:pt idx="263">
                  <c:v>44582</c:v>
                </c:pt>
                <c:pt idx="264">
                  <c:v>44585</c:v>
                </c:pt>
                <c:pt idx="265">
                  <c:v>44586</c:v>
                </c:pt>
                <c:pt idx="266">
                  <c:v>44587</c:v>
                </c:pt>
                <c:pt idx="267">
                  <c:v>44588</c:v>
                </c:pt>
                <c:pt idx="268">
                  <c:v>44589</c:v>
                </c:pt>
                <c:pt idx="269">
                  <c:v>44592</c:v>
                </c:pt>
                <c:pt idx="270">
                  <c:v>44593</c:v>
                </c:pt>
                <c:pt idx="271">
                  <c:v>44594</c:v>
                </c:pt>
                <c:pt idx="272">
                  <c:v>44595</c:v>
                </c:pt>
                <c:pt idx="273">
                  <c:v>44596</c:v>
                </c:pt>
                <c:pt idx="274">
                  <c:v>44599</c:v>
                </c:pt>
                <c:pt idx="275">
                  <c:v>44600</c:v>
                </c:pt>
                <c:pt idx="276">
                  <c:v>44601</c:v>
                </c:pt>
                <c:pt idx="277">
                  <c:v>44602</c:v>
                </c:pt>
                <c:pt idx="278">
                  <c:v>44603</c:v>
                </c:pt>
                <c:pt idx="279">
                  <c:v>44606</c:v>
                </c:pt>
                <c:pt idx="280">
                  <c:v>44607</c:v>
                </c:pt>
                <c:pt idx="281">
                  <c:v>44608</c:v>
                </c:pt>
                <c:pt idx="282">
                  <c:v>44609</c:v>
                </c:pt>
                <c:pt idx="283">
                  <c:v>44610</c:v>
                </c:pt>
                <c:pt idx="284">
                  <c:v>44614</c:v>
                </c:pt>
                <c:pt idx="285">
                  <c:v>44615</c:v>
                </c:pt>
                <c:pt idx="286">
                  <c:v>44616</c:v>
                </c:pt>
                <c:pt idx="287">
                  <c:v>44617</c:v>
                </c:pt>
                <c:pt idx="288">
                  <c:v>44620</c:v>
                </c:pt>
                <c:pt idx="289">
                  <c:v>44621</c:v>
                </c:pt>
                <c:pt idx="290">
                  <c:v>44622</c:v>
                </c:pt>
                <c:pt idx="291">
                  <c:v>44623</c:v>
                </c:pt>
                <c:pt idx="292">
                  <c:v>44624</c:v>
                </c:pt>
                <c:pt idx="293">
                  <c:v>44627</c:v>
                </c:pt>
                <c:pt idx="294">
                  <c:v>44628</c:v>
                </c:pt>
                <c:pt idx="295">
                  <c:v>44629</c:v>
                </c:pt>
                <c:pt idx="296">
                  <c:v>44630</c:v>
                </c:pt>
                <c:pt idx="297">
                  <c:v>44631</c:v>
                </c:pt>
                <c:pt idx="298">
                  <c:v>44634</c:v>
                </c:pt>
                <c:pt idx="299">
                  <c:v>44635</c:v>
                </c:pt>
                <c:pt idx="300">
                  <c:v>44636</c:v>
                </c:pt>
                <c:pt idx="301">
                  <c:v>44637</c:v>
                </c:pt>
                <c:pt idx="302">
                  <c:v>44638</c:v>
                </c:pt>
                <c:pt idx="303">
                  <c:v>44641</c:v>
                </c:pt>
                <c:pt idx="304">
                  <c:v>44642</c:v>
                </c:pt>
                <c:pt idx="305">
                  <c:v>44643</c:v>
                </c:pt>
                <c:pt idx="306">
                  <c:v>44644</c:v>
                </c:pt>
                <c:pt idx="307">
                  <c:v>44645</c:v>
                </c:pt>
                <c:pt idx="308">
                  <c:v>44648</c:v>
                </c:pt>
                <c:pt idx="309">
                  <c:v>44649</c:v>
                </c:pt>
                <c:pt idx="310">
                  <c:v>44650</c:v>
                </c:pt>
                <c:pt idx="311">
                  <c:v>44651</c:v>
                </c:pt>
                <c:pt idx="312">
                  <c:v>44652</c:v>
                </c:pt>
                <c:pt idx="313">
                  <c:v>44655</c:v>
                </c:pt>
                <c:pt idx="314">
                  <c:v>44656</c:v>
                </c:pt>
                <c:pt idx="315">
                  <c:v>44657</c:v>
                </c:pt>
                <c:pt idx="316">
                  <c:v>44658</c:v>
                </c:pt>
                <c:pt idx="317">
                  <c:v>44659</c:v>
                </c:pt>
                <c:pt idx="318">
                  <c:v>44662</c:v>
                </c:pt>
                <c:pt idx="319">
                  <c:v>44663</c:v>
                </c:pt>
                <c:pt idx="320">
                  <c:v>44664</c:v>
                </c:pt>
                <c:pt idx="321">
                  <c:v>44665</c:v>
                </c:pt>
                <c:pt idx="322">
                  <c:v>44669</c:v>
                </c:pt>
                <c:pt idx="323">
                  <c:v>44670</c:v>
                </c:pt>
                <c:pt idx="324">
                  <c:v>44671</c:v>
                </c:pt>
                <c:pt idx="325">
                  <c:v>44672</c:v>
                </c:pt>
                <c:pt idx="326">
                  <c:v>44673</c:v>
                </c:pt>
                <c:pt idx="327">
                  <c:v>44676</c:v>
                </c:pt>
                <c:pt idx="328">
                  <c:v>44677</c:v>
                </c:pt>
                <c:pt idx="329">
                  <c:v>44678</c:v>
                </c:pt>
                <c:pt idx="330">
                  <c:v>44679</c:v>
                </c:pt>
                <c:pt idx="331">
                  <c:v>44680</c:v>
                </c:pt>
                <c:pt idx="332">
                  <c:v>44683</c:v>
                </c:pt>
                <c:pt idx="333">
                  <c:v>44684</c:v>
                </c:pt>
                <c:pt idx="334">
                  <c:v>44685</c:v>
                </c:pt>
                <c:pt idx="335">
                  <c:v>44686</c:v>
                </c:pt>
                <c:pt idx="336">
                  <c:v>44687</c:v>
                </c:pt>
                <c:pt idx="337">
                  <c:v>44690</c:v>
                </c:pt>
                <c:pt idx="338">
                  <c:v>44691</c:v>
                </c:pt>
                <c:pt idx="339">
                  <c:v>44692</c:v>
                </c:pt>
                <c:pt idx="340">
                  <c:v>44693</c:v>
                </c:pt>
                <c:pt idx="341">
                  <c:v>44694</c:v>
                </c:pt>
                <c:pt idx="342">
                  <c:v>44697</c:v>
                </c:pt>
                <c:pt idx="343">
                  <c:v>44698</c:v>
                </c:pt>
                <c:pt idx="344">
                  <c:v>44699</c:v>
                </c:pt>
                <c:pt idx="345">
                  <c:v>44700</c:v>
                </c:pt>
                <c:pt idx="346">
                  <c:v>44701</c:v>
                </c:pt>
                <c:pt idx="347">
                  <c:v>44704</c:v>
                </c:pt>
                <c:pt idx="348">
                  <c:v>44705</c:v>
                </c:pt>
                <c:pt idx="349">
                  <c:v>44706</c:v>
                </c:pt>
                <c:pt idx="350">
                  <c:v>44707</c:v>
                </c:pt>
                <c:pt idx="351">
                  <c:v>44708</c:v>
                </c:pt>
                <c:pt idx="352">
                  <c:v>44712</c:v>
                </c:pt>
                <c:pt idx="353">
                  <c:v>44713</c:v>
                </c:pt>
                <c:pt idx="354">
                  <c:v>44714</c:v>
                </c:pt>
                <c:pt idx="355">
                  <c:v>44715</c:v>
                </c:pt>
                <c:pt idx="356">
                  <c:v>44718</c:v>
                </c:pt>
                <c:pt idx="357">
                  <c:v>44719</c:v>
                </c:pt>
                <c:pt idx="358">
                  <c:v>44720</c:v>
                </c:pt>
                <c:pt idx="359">
                  <c:v>44721</c:v>
                </c:pt>
                <c:pt idx="360">
                  <c:v>44722</c:v>
                </c:pt>
                <c:pt idx="361">
                  <c:v>44725</c:v>
                </c:pt>
                <c:pt idx="362">
                  <c:v>44726</c:v>
                </c:pt>
                <c:pt idx="363">
                  <c:v>44727</c:v>
                </c:pt>
                <c:pt idx="364">
                  <c:v>44728</c:v>
                </c:pt>
                <c:pt idx="365">
                  <c:v>44729</c:v>
                </c:pt>
                <c:pt idx="366">
                  <c:v>44733</c:v>
                </c:pt>
                <c:pt idx="367">
                  <c:v>44734</c:v>
                </c:pt>
                <c:pt idx="368">
                  <c:v>44735</c:v>
                </c:pt>
                <c:pt idx="369">
                  <c:v>44736</c:v>
                </c:pt>
                <c:pt idx="370">
                  <c:v>44739</c:v>
                </c:pt>
                <c:pt idx="371">
                  <c:v>44740</c:v>
                </c:pt>
                <c:pt idx="372">
                  <c:v>44741</c:v>
                </c:pt>
                <c:pt idx="373">
                  <c:v>44742</c:v>
                </c:pt>
                <c:pt idx="374">
                  <c:v>44743</c:v>
                </c:pt>
                <c:pt idx="375">
                  <c:v>44747</c:v>
                </c:pt>
                <c:pt idx="376">
                  <c:v>44748</c:v>
                </c:pt>
                <c:pt idx="377">
                  <c:v>44749</c:v>
                </c:pt>
                <c:pt idx="378">
                  <c:v>44750</c:v>
                </c:pt>
                <c:pt idx="379">
                  <c:v>44753</c:v>
                </c:pt>
                <c:pt idx="380">
                  <c:v>44754</c:v>
                </c:pt>
                <c:pt idx="381">
                  <c:v>44755</c:v>
                </c:pt>
                <c:pt idx="382">
                  <c:v>44756</c:v>
                </c:pt>
                <c:pt idx="383">
                  <c:v>44757</c:v>
                </c:pt>
                <c:pt idx="384">
                  <c:v>44760</c:v>
                </c:pt>
                <c:pt idx="385">
                  <c:v>44761</c:v>
                </c:pt>
                <c:pt idx="386">
                  <c:v>44762</c:v>
                </c:pt>
                <c:pt idx="387">
                  <c:v>44763</c:v>
                </c:pt>
                <c:pt idx="388">
                  <c:v>44764</c:v>
                </c:pt>
                <c:pt idx="389">
                  <c:v>44767</c:v>
                </c:pt>
                <c:pt idx="390">
                  <c:v>44768</c:v>
                </c:pt>
                <c:pt idx="391">
                  <c:v>44769</c:v>
                </c:pt>
                <c:pt idx="392">
                  <c:v>44770</c:v>
                </c:pt>
                <c:pt idx="393">
                  <c:v>44771</c:v>
                </c:pt>
                <c:pt idx="394">
                  <c:v>44774</c:v>
                </c:pt>
                <c:pt idx="395">
                  <c:v>44775</c:v>
                </c:pt>
                <c:pt idx="396">
                  <c:v>44776</c:v>
                </c:pt>
                <c:pt idx="397">
                  <c:v>44777</c:v>
                </c:pt>
                <c:pt idx="398">
                  <c:v>44778</c:v>
                </c:pt>
                <c:pt idx="399">
                  <c:v>44781</c:v>
                </c:pt>
                <c:pt idx="400">
                  <c:v>44782</c:v>
                </c:pt>
                <c:pt idx="401">
                  <c:v>44783</c:v>
                </c:pt>
                <c:pt idx="402">
                  <c:v>44784</c:v>
                </c:pt>
                <c:pt idx="403">
                  <c:v>44785</c:v>
                </c:pt>
                <c:pt idx="404">
                  <c:v>44788</c:v>
                </c:pt>
                <c:pt idx="405">
                  <c:v>44789</c:v>
                </c:pt>
                <c:pt idx="406">
                  <c:v>44790</c:v>
                </c:pt>
                <c:pt idx="407">
                  <c:v>44791</c:v>
                </c:pt>
                <c:pt idx="408">
                  <c:v>44792</c:v>
                </c:pt>
                <c:pt idx="409">
                  <c:v>44795</c:v>
                </c:pt>
                <c:pt idx="410">
                  <c:v>44796</c:v>
                </c:pt>
                <c:pt idx="411">
                  <c:v>44797</c:v>
                </c:pt>
                <c:pt idx="412">
                  <c:v>44798</c:v>
                </c:pt>
                <c:pt idx="413">
                  <c:v>44799</c:v>
                </c:pt>
                <c:pt idx="414">
                  <c:v>44802</c:v>
                </c:pt>
                <c:pt idx="415">
                  <c:v>44803</c:v>
                </c:pt>
                <c:pt idx="416">
                  <c:v>44804</c:v>
                </c:pt>
                <c:pt idx="417">
                  <c:v>44805</c:v>
                </c:pt>
                <c:pt idx="418">
                  <c:v>44806</c:v>
                </c:pt>
                <c:pt idx="419">
                  <c:v>44810</c:v>
                </c:pt>
                <c:pt idx="420">
                  <c:v>44811</c:v>
                </c:pt>
                <c:pt idx="421">
                  <c:v>44812</c:v>
                </c:pt>
                <c:pt idx="422">
                  <c:v>44813</c:v>
                </c:pt>
                <c:pt idx="423">
                  <c:v>44816</c:v>
                </c:pt>
                <c:pt idx="424">
                  <c:v>44817</c:v>
                </c:pt>
                <c:pt idx="425">
                  <c:v>44818</c:v>
                </c:pt>
                <c:pt idx="426">
                  <c:v>44819</c:v>
                </c:pt>
                <c:pt idx="427">
                  <c:v>44820</c:v>
                </c:pt>
                <c:pt idx="428">
                  <c:v>44823</c:v>
                </c:pt>
                <c:pt idx="429">
                  <c:v>44824</c:v>
                </c:pt>
                <c:pt idx="430">
                  <c:v>44825</c:v>
                </c:pt>
                <c:pt idx="431">
                  <c:v>44826</c:v>
                </c:pt>
                <c:pt idx="432">
                  <c:v>44827</c:v>
                </c:pt>
                <c:pt idx="433">
                  <c:v>44830</c:v>
                </c:pt>
                <c:pt idx="434">
                  <c:v>44831</c:v>
                </c:pt>
                <c:pt idx="435">
                  <c:v>44832</c:v>
                </c:pt>
                <c:pt idx="436">
                  <c:v>44833</c:v>
                </c:pt>
                <c:pt idx="437">
                  <c:v>44834</c:v>
                </c:pt>
                <c:pt idx="438">
                  <c:v>44837</c:v>
                </c:pt>
                <c:pt idx="439">
                  <c:v>44838</c:v>
                </c:pt>
                <c:pt idx="440">
                  <c:v>44839</c:v>
                </c:pt>
                <c:pt idx="441">
                  <c:v>44840</c:v>
                </c:pt>
                <c:pt idx="442">
                  <c:v>44841</c:v>
                </c:pt>
                <c:pt idx="443">
                  <c:v>44845</c:v>
                </c:pt>
                <c:pt idx="444">
                  <c:v>44846</c:v>
                </c:pt>
                <c:pt idx="445">
                  <c:v>44847</c:v>
                </c:pt>
                <c:pt idx="446">
                  <c:v>44848</c:v>
                </c:pt>
                <c:pt idx="447">
                  <c:v>44851</c:v>
                </c:pt>
                <c:pt idx="448">
                  <c:v>44852</c:v>
                </c:pt>
                <c:pt idx="449">
                  <c:v>44853</c:v>
                </c:pt>
                <c:pt idx="450">
                  <c:v>44854</c:v>
                </c:pt>
                <c:pt idx="451">
                  <c:v>44855</c:v>
                </c:pt>
                <c:pt idx="452">
                  <c:v>44858</c:v>
                </c:pt>
                <c:pt idx="453">
                  <c:v>44859</c:v>
                </c:pt>
                <c:pt idx="454">
                  <c:v>44860</c:v>
                </c:pt>
                <c:pt idx="455">
                  <c:v>44861</c:v>
                </c:pt>
                <c:pt idx="456">
                  <c:v>44862</c:v>
                </c:pt>
                <c:pt idx="457">
                  <c:v>44865</c:v>
                </c:pt>
                <c:pt idx="458">
                  <c:v>44866</c:v>
                </c:pt>
                <c:pt idx="459">
                  <c:v>44867</c:v>
                </c:pt>
                <c:pt idx="460">
                  <c:v>44868</c:v>
                </c:pt>
                <c:pt idx="461">
                  <c:v>44869</c:v>
                </c:pt>
                <c:pt idx="462">
                  <c:v>44872</c:v>
                </c:pt>
                <c:pt idx="463">
                  <c:v>44873</c:v>
                </c:pt>
                <c:pt idx="464">
                  <c:v>44874</c:v>
                </c:pt>
                <c:pt idx="465">
                  <c:v>44875</c:v>
                </c:pt>
                <c:pt idx="466">
                  <c:v>44879</c:v>
                </c:pt>
                <c:pt idx="467">
                  <c:v>44880</c:v>
                </c:pt>
                <c:pt idx="468">
                  <c:v>44881</c:v>
                </c:pt>
                <c:pt idx="469">
                  <c:v>44882</c:v>
                </c:pt>
                <c:pt idx="470">
                  <c:v>44883</c:v>
                </c:pt>
                <c:pt idx="471">
                  <c:v>44886</c:v>
                </c:pt>
                <c:pt idx="472">
                  <c:v>44887</c:v>
                </c:pt>
                <c:pt idx="473">
                  <c:v>44888</c:v>
                </c:pt>
                <c:pt idx="474">
                  <c:v>44890</c:v>
                </c:pt>
                <c:pt idx="475">
                  <c:v>44893</c:v>
                </c:pt>
                <c:pt idx="476">
                  <c:v>44894</c:v>
                </c:pt>
                <c:pt idx="477">
                  <c:v>44895</c:v>
                </c:pt>
                <c:pt idx="478">
                  <c:v>44896</c:v>
                </c:pt>
                <c:pt idx="479">
                  <c:v>44897</c:v>
                </c:pt>
                <c:pt idx="480">
                  <c:v>44900</c:v>
                </c:pt>
                <c:pt idx="481">
                  <c:v>44901</c:v>
                </c:pt>
                <c:pt idx="482">
                  <c:v>44902</c:v>
                </c:pt>
                <c:pt idx="483">
                  <c:v>44903</c:v>
                </c:pt>
                <c:pt idx="484">
                  <c:v>44904</c:v>
                </c:pt>
                <c:pt idx="485">
                  <c:v>44907</c:v>
                </c:pt>
                <c:pt idx="486">
                  <c:v>44908</c:v>
                </c:pt>
                <c:pt idx="487">
                  <c:v>44909</c:v>
                </c:pt>
                <c:pt idx="488">
                  <c:v>44910</c:v>
                </c:pt>
                <c:pt idx="489">
                  <c:v>44911</c:v>
                </c:pt>
                <c:pt idx="490">
                  <c:v>44914</c:v>
                </c:pt>
                <c:pt idx="491">
                  <c:v>44915</c:v>
                </c:pt>
                <c:pt idx="492">
                  <c:v>44916</c:v>
                </c:pt>
                <c:pt idx="493">
                  <c:v>44917</c:v>
                </c:pt>
                <c:pt idx="494">
                  <c:v>44918</c:v>
                </c:pt>
                <c:pt idx="495">
                  <c:v>44922</c:v>
                </c:pt>
                <c:pt idx="496">
                  <c:v>44923</c:v>
                </c:pt>
                <c:pt idx="497">
                  <c:v>44924</c:v>
                </c:pt>
                <c:pt idx="498">
                  <c:v>44925</c:v>
                </c:pt>
                <c:pt idx="499">
                  <c:v>44929</c:v>
                </c:pt>
                <c:pt idx="500">
                  <c:v>44930</c:v>
                </c:pt>
                <c:pt idx="501">
                  <c:v>44931</c:v>
                </c:pt>
                <c:pt idx="502">
                  <c:v>44932</c:v>
                </c:pt>
                <c:pt idx="503">
                  <c:v>44935</c:v>
                </c:pt>
                <c:pt idx="504">
                  <c:v>44936</c:v>
                </c:pt>
                <c:pt idx="505">
                  <c:v>44937</c:v>
                </c:pt>
                <c:pt idx="506">
                  <c:v>44938</c:v>
                </c:pt>
                <c:pt idx="507">
                  <c:v>44939</c:v>
                </c:pt>
                <c:pt idx="508">
                  <c:v>44943</c:v>
                </c:pt>
                <c:pt idx="509">
                  <c:v>44944</c:v>
                </c:pt>
                <c:pt idx="510">
                  <c:v>44945</c:v>
                </c:pt>
                <c:pt idx="511">
                  <c:v>44946</c:v>
                </c:pt>
                <c:pt idx="512">
                  <c:v>44949</c:v>
                </c:pt>
                <c:pt idx="513">
                  <c:v>44950</c:v>
                </c:pt>
                <c:pt idx="514">
                  <c:v>44951</c:v>
                </c:pt>
                <c:pt idx="515">
                  <c:v>44952</c:v>
                </c:pt>
                <c:pt idx="516">
                  <c:v>44953</c:v>
                </c:pt>
                <c:pt idx="517">
                  <c:v>44956</c:v>
                </c:pt>
                <c:pt idx="518">
                  <c:v>44957</c:v>
                </c:pt>
                <c:pt idx="519">
                  <c:v>44958</c:v>
                </c:pt>
                <c:pt idx="520">
                  <c:v>44959</c:v>
                </c:pt>
                <c:pt idx="521">
                  <c:v>44960</c:v>
                </c:pt>
                <c:pt idx="522">
                  <c:v>44963</c:v>
                </c:pt>
                <c:pt idx="523">
                  <c:v>44964</c:v>
                </c:pt>
                <c:pt idx="524">
                  <c:v>44965</c:v>
                </c:pt>
                <c:pt idx="525">
                  <c:v>44966</c:v>
                </c:pt>
                <c:pt idx="526">
                  <c:v>44967</c:v>
                </c:pt>
                <c:pt idx="527">
                  <c:v>44970</c:v>
                </c:pt>
                <c:pt idx="528">
                  <c:v>44971</c:v>
                </c:pt>
                <c:pt idx="529">
                  <c:v>44972</c:v>
                </c:pt>
                <c:pt idx="530">
                  <c:v>44973</c:v>
                </c:pt>
                <c:pt idx="531">
                  <c:v>44974</c:v>
                </c:pt>
                <c:pt idx="532">
                  <c:v>44978</c:v>
                </c:pt>
                <c:pt idx="533">
                  <c:v>44979</c:v>
                </c:pt>
                <c:pt idx="534">
                  <c:v>44980</c:v>
                </c:pt>
                <c:pt idx="535">
                  <c:v>44981</c:v>
                </c:pt>
                <c:pt idx="536">
                  <c:v>44984</c:v>
                </c:pt>
                <c:pt idx="537">
                  <c:v>44985</c:v>
                </c:pt>
                <c:pt idx="538">
                  <c:v>44986</c:v>
                </c:pt>
                <c:pt idx="539">
                  <c:v>44987</c:v>
                </c:pt>
                <c:pt idx="540">
                  <c:v>44988</c:v>
                </c:pt>
                <c:pt idx="541">
                  <c:v>44991</c:v>
                </c:pt>
                <c:pt idx="542">
                  <c:v>44992</c:v>
                </c:pt>
                <c:pt idx="543">
                  <c:v>44993</c:v>
                </c:pt>
                <c:pt idx="544">
                  <c:v>44994</c:v>
                </c:pt>
                <c:pt idx="545">
                  <c:v>44995</c:v>
                </c:pt>
                <c:pt idx="546">
                  <c:v>44998</c:v>
                </c:pt>
                <c:pt idx="547">
                  <c:v>44999</c:v>
                </c:pt>
                <c:pt idx="548">
                  <c:v>45000</c:v>
                </c:pt>
                <c:pt idx="549">
                  <c:v>45001</c:v>
                </c:pt>
                <c:pt idx="550">
                  <c:v>45002</c:v>
                </c:pt>
                <c:pt idx="551">
                  <c:v>45005</c:v>
                </c:pt>
                <c:pt idx="552">
                  <c:v>45006</c:v>
                </c:pt>
                <c:pt idx="553">
                  <c:v>45007</c:v>
                </c:pt>
                <c:pt idx="554">
                  <c:v>45008</c:v>
                </c:pt>
                <c:pt idx="555">
                  <c:v>45009</c:v>
                </c:pt>
                <c:pt idx="556">
                  <c:v>45012</c:v>
                </c:pt>
                <c:pt idx="557">
                  <c:v>45013</c:v>
                </c:pt>
                <c:pt idx="558">
                  <c:v>45014</c:v>
                </c:pt>
                <c:pt idx="559">
                  <c:v>45015</c:v>
                </c:pt>
                <c:pt idx="560">
                  <c:v>45016</c:v>
                </c:pt>
                <c:pt idx="561">
                  <c:v>45019</c:v>
                </c:pt>
                <c:pt idx="562">
                  <c:v>45020</c:v>
                </c:pt>
                <c:pt idx="563">
                  <c:v>45021</c:v>
                </c:pt>
                <c:pt idx="564">
                  <c:v>45022</c:v>
                </c:pt>
                <c:pt idx="565">
                  <c:v>45026</c:v>
                </c:pt>
                <c:pt idx="566">
                  <c:v>45027</c:v>
                </c:pt>
                <c:pt idx="567">
                  <c:v>45028</c:v>
                </c:pt>
                <c:pt idx="568">
                  <c:v>45029</c:v>
                </c:pt>
                <c:pt idx="569">
                  <c:v>45030</c:v>
                </c:pt>
                <c:pt idx="570">
                  <c:v>45033</c:v>
                </c:pt>
                <c:pt idx="571">
                  <c:v>45034</c:v>
                </c:pt>
                <c:pt idx="572">
                  <c:v>45035</c:v>
                </c:pt>
                <c:pt idx="573">
                  <c:v>45036</c:v>
                </c:pt>
                <c:pt idx="574">
                  <c:v>45037</c:v>
                </c:pt>
                <c:pt idx="575">
                  <c:v>45040</c:v>
                </c:pt>
                <c:pt idx="576">
                  <c:v>45041</c:v>
                </c:pt>
                <c:pt idx="577">
                  <c:v>45042</c:v>
                </c:pt>
                <c:pt idx="578">
                  <c:v>45043</c:v>
                </c:pt>
                <c:pt idx="579">
                  <c:v>45044</c:v>
                </c:pt>
                <c:pt idx="580">
                  <c:v>45047</c:v>
                </c:pt>
                <c:pt idx="581">
                  <c:v>45048</c:v>
                </c:pt>
                <c:pt idx="582">
                  <c:v>45049</c:v>
                </c:pt>
                <c:pt idx="583">
                  <c:v>45050</c:v>
                </c:pt>
                <c:pt idx="584">
                  <c:v>45051</c:v>
                </c:pt>
                <c:pt idx="585">
                  <c:v>45054</c:v>
                </c:pt>
                <c:pt idx="586">
                  <c:v>45055</c:v>
                </c:pt>
                <c:pt idx="587">
                  <c:v>45056</c:v>
                </c:pt>
                <c:pt idx="588">
                  <c:v>45057</c:v>
                </c:pt>
                <c:pt idx="589">
                  <c:v>45058</c:v>
                </c:pt>
                <c:pt idx="590">
                  <c:v>45061</c:v>
                </c:pt>
                <c:pt idx="591">
                  <c:v>45062</c:v>
                </c:pt>
                <c:pt idx="592">
                  <c:v>45063</c:v>
                </c:pt>
                <c:pt idx="593">
                  <c:v>45064</c:v>
                </c:pt>
                <c:pt idx="594">
                  <c:v>45065</c:v>
                </c:pt>
                <c:pt idx="595">
                  <c:v>45068</c:v>
                </c:pt>
                <c:pt idx="596">
                  <c:v>45069</c:v>
                </c:pt>
                <c:pt idx="597">
                  <c:v>45070</c:v>
                </c:pt>
                <c:pt idx="598">
                  <c:v>45071</c:v>
                </c:pt>
                <c:pt idx="599">
                  <c:v>45072</c:v>
                </c:pt>
                <c:pt idx="600">
                  <c:v>45076</c:v>
                </c:pt>
                <c:pt idx="601">
                  <c:v>45077</c:v>
                </c:pt>
                <c:pt idx="602">
                  <c:v>45078</c:v>
                </c:pt>
                <c:pt idx="603">
                  <c:v>45079</c:v>
                </c:pt>
                <c:pt idx="604">
                  <c:v>45082</c:v>
                </c:pt>
                <c:pt idx="605">
                  <c:v>45083</c:v>
                </c:pt>
                <c:pt idx="606">
                  <c:v>45084</c:v>
                </c:pt>
                <c:pt idx="607">
                  <c:v>45085</c:v>
                </c:pt>
                <c:pt idx="608">
                  <c:v>45086</c:v>
                </c:pt>
                <c:pt idx="609">
                  <c:v>45089</c:v>
                </c:pt>
                <c:pt idx="610">
                  <c:v>45090</c:v>
                </c:pt>
                <c:pt idx="611">
                  <c:v>45091</c:v>
                </c:pt>
                <c:pt idx="612">
                  <c:v>45092</c:v>
                </c:pt>
                <c:pt idx="613">
                  <c:v>45093</c:v>
                </c:pt>
                <c:pt idx="614">
                  <c:v>45097</c:v>
                </c:pt>
                <c:pt idx="615">
                  <c:v>45098</c:v>
                </c:pt>
                <c:pt idx="616">
                  <c:v>45099</c:v>
                </c:pt>
                <c:pt idx="617">
                  <c:v>45100</c:v>
                </c:pt>
                <c:pt idx="618">
                  <c:v>45103</c:v>
                </c:pt>
                <c:pt idx="619">
                  <c:v>45104</c:v>
                </c:pt>
                <c:pt idx="620">
                  <c:v>45105</c:v>
                </c:pt>
                <c:pt idx="621">
                  <c:v>45106</c:v>
                </c:pt>
                <c:pt idx="622">
                  <c:v>45107</c:v>
                </c:pt>
                <c:pt idx="623">
                  <c:v>45110</c:v>
                </c:pt>
                <c:pt idx="624">
                  <c:v>45112</c:v>
                </c:pt>
                <c:pt idx="625">
                  <c:v>45113</c:v>
                </c:pt>
                <c:pt idx="626">
                  <c:v>45114</c:v>
                </c:pt>
                <c:pt idx="627">
                  <c:v>45117</c:v>
                </c:pt>
                <c:pt idx="628">
                  <c:v>45118</c:v>
                </c:pt>
                <c:pt idx="629">
                  <c:v>45119</c:v>
                </c:pt>
                <c:pt idx="630">
                  <c:v>45120</c:v>
                </c:pt>
                <c:pt idx="631">
                  <c:v>45121</c:v>
                </c:pt>
                <c:pt idx="632">
                  <c:v>45124</c:v>
                </c:pt>
                <c:pt idx="633">
                  <c:v>45125</c:v>
                </c:pt>
                <c:pt idx="634">
                  <c:v>45126</c:v>
                </c:pt>
                <c:pt idx="635">
                  <c:v>45127</c:v>
                </c:pt>
                <c:pt idx="636">
                  <c:v>45128</c:v>
                </c:pt>
                <c:pt idx="637">
                  <c:v>45131</c:v>
                </c:pt>
                <c:pt idx="638">
                  <c:v>45132</c:v>
                </c:pt>
                <c:pt idx="639">
                  <c:v>45133</c:v>
                </c:pt>
                <c:pt idx="640">
                  <c:v>45134</c:v>
                </c:pt>
                <c:pt idx="641">
                  <c:v>45135</c:v>
                </c:pt>
                <c:pt idx="642">
                  <c:v>45138</c:v>
                </c:pt>
                <c:pt idx="643">
                  <c:v>45139</c:v>
                </c:pt>
                <c:pt idx="644">
                  <c:v>45140</c:v>
                </c:pt>
                <c:pt idx="645">
                  <c:v>45141</c:v>
                </c:pt>
                <c:pt idx="646">
                  <c:v>45142</c:v>
                </c:pt>
                <c:pt idx="647">
                  <c:v>45145</c:v>
                </c:pt>
                <c:pt idx="648">
                  <c:v>45146</c:v>
                </c:pt>
                <c:pt idx="649">
                  <c:v>45147</c:v>
                </c:pt>
                <c:pt idx="650">
                  <c:v>45148</c:v>
                </c:pt>
                <c:pt idx="651">
                  <c:v>45149</c:v>
                </c:pt>
                <c:pt idx="652">
                  <c:v>45152</c:v>
                </c:pt>
                <c:pt idx="653">
                  <c:v>45153</c:v>
                </c:pt>
                <c:pt idx="654">
                  <c:v>45154</c:v>
                </c:pt>
                <c:pt idx="655">
                  <c:v>45155</c:v>
                </c:pt>
                <c:pt idx="656">
                  <c:v>45156</c:v>
                </c:pt>
                <c:pt idx="657">
                  <c:v>45159</c:v>
                </c:pt>
                <c:pt idx="658">
                  <c:v>45160</c:v>
                </c:pt>
                <c:pt idx="659">
                  <c:v>45161</c:v>
                </c:pt>
                <c:pt idx="660">
                  <c:v>45162</c:v>
                </c:pt>
                <c:pt idx="661">
                  <c:v>45163</c:v>
                </c:pt>
                <c:pt idx="662">
                  <c:v>45166</c:v>
                </c:pt>
                <c:pt idx="663">
                  <c:v>45167</c:v>
                </c:pt>
                <c:pt idx="664">
                  <c:v>45168</c:v>
                </c:pt>
                <c:pt idx="665">
                  <c:v>45169</c:v>
                </c:pt>
                <c:pt idx="666">
                  <c:v>45170</c:v>
                </c:pt>
                <c:pt idx="667">
                  <c:v>45174</c:v>
                </c:pt>
                <c:pt idx="668">
                  <c:v>45175</c:v>
                </c:pt>
                <c:pt idx="669">
                  <c:v>45176</c:v>
                </c:pt>
                <c:pt idx="670">
                  <c:v>45177</c:v>
                </c:pt>
                <c:pt idx="671">
                  <c:v>45180</c:v>
                </c:pt>
                <c:pt idx="672">
                  <c:v>45181</c:v>
                </c:pt>
                <c:pt idx="673">
                  <c:v>45182</c:v>
                </c:pt>
                <c:pt idx="674">
                  <c:v>45183</c:v>
                </c:pt>
                <c:pt idx="675">
                  <c:v>45184</c:v>
                </c:pt>
                <c:pt idx="676">
                  <c:v>45187</c:v>
                </c:pt>
                <c:pt idx="677">
                  <c:v>45188</c:v>
                </c:pt>
                <c:pt idx="678">
                  <c:v>45189</c:v>
                </c:pt>
                <c:pt idx="679">
                  <c:v>45190</c:v>
                </c:pt>
                <c:pt idx="680">
                  <c:v>45191</c:v>
                </c:pt>
                <c:pt idx="681">
                  <c:v>45194</c:v>
                </c:pt>
                <c:pt idx="682">
                  <c:v>45195</c:v>
                </c:pt>
                <c:pt idx="683">
                  <c:v>45196</c:v>
                </c:pt>
                <c:pt idx="684">
                  <c:v>45197</c:v>
                </c:pt>
                <c:pt idx="685">
                  <c:v>45198</c:v>
                </c:pt>
                <c:pt idx="686">
                  <c:v>45201</c:v>
                </c:pt>
                <c:pt idx="687">
                  <c:v>45202</c:v>
                </c:pt>
                <c:pt idx="688">
                  <c:v>45203</c:v>
                </c:pt>
                <c:pt idx="689">
                  <c:v>45204</c:v>
                </c:pt>
                <c:pt idx="690">
                  <c:v>45205</c:v>
                </c:pt>
                <c:pt idx="691">
                  <c:v>45209</c:v>
                </c:pt>
                <c:pt idx="692">
                  <c:v>45210</c:v>
                </c:pt>
                <c:pt idx="693">
                  <c:v>45211</c:v>
                </c:pt>
                <c:pt idx="694">
                  <c:v>45212</c:v>
                </c:pt>
                <c:pt idx="695">
                  <c:v>45215</c:v>
                </c:pt>
                <c:pt idx="696">
                  <c:v>45216</c:v>
                </c:pt>
                <c:pt idx="697">
                  <c:v>45217</c:v>
                </c:pt>
                <c:pt idx="698">
                  <c:v>45218</c:v>
                </c:pt>
                <c:pt idx="699">
                  <c:v>45219</c:v>
                </c:pt>
                <c:pt idx="700">
                  <c:v>45222</c:v>
                </c:pt>
                <c:pt idx="701">
                  <c:v>45223</c:v>
                </c:pt>
                <c:pt idx="702">
                  <c:v>45224</c:v>
                </c:pt>
                <c:pt idx="703">
                  <c:v>45225</c:v>
                </c:pt>
                <c:pt idx="704">
                  <c:v>45226</c:v>
                </c:pt>
                <c:pt idx="705">
                  <c:v>45229</c:v>
                </c:pt>
                <c:pt idx="706">
                  <c:v>45230</c:v>
                </c:pt>
                <c:pt idx="707">
                  <c:v>45231</c:v>
                </c:pt>
                <c:pt idx="708">
                  <c:v>45232</c:v>
                </c:pt>
                <c:pt idx="709">
                  <c:v>45233</c:v>
                </c:pt>
                <c:pt idx="710">
                  <c:v>45236</c:v>
                </c:pt>
              </c:numCache>
            </c:numRef>
          </c:cat>
          <c:val>
            <c:numRef>
              <c:f>Hoja1!$C$2:$C$712</c:f>
              <c:numCache>
                <c:formatCode>0.0%</c:formatCode>
                <c:ptCount val="711"/>
                <c:pt idx="0">
                  <c:v>3.2250000000000001E-2</c:v>
                </c:pt>
                <c:pt idx="1">
                  <c:v>3.2440000000000004E-2</c:v>
                </c:pt>
                <c:pt idx="2">
                  <c:v>3.3099999999999997E-2</c:v>
                </c:pt>
                <c:pt idx="3">
                  <c:v>3.3479999999999996E-2</c:v>
                </c:pt>
                <c:pt idx="4">
                  <c:v>3.3460000000000004E-2</c:v>
                </c:pt>
                <c:pt idx="5">
                  <c:v>3.3790000000000001E-2</c:v>
                </c:pt>
                <c:pt idx="6">
                  <c:v>3.499E-2</c:v>
                </c:pt>
                <c:pt idx="7">
                  <c:v>3.4460000000000005E-2</c:v>
                </c:pt>
                <c:pt idx="8">
                  <c:v>3.4639999999999997E-2</c:v>
                </c:pt>
                <c:pt idx="9">
                  <c:v>3.4950000000000002E-2</c:v>
                </c:pt>
                <c:pt idx="10">
                  <c:v>3.499E-2</c:v>
                </c:pt>
                <c:pt idx="11">
                  <c:v>3.5009999999999999E-2</c:v>
                </c:pt>
                <c:pt idx="12">
                  <c:v>3.5290000000000002E-2</c:v>
                </c:pt>
                <c:pt idx="13">
                  <c:v>3.5390000000000005E-2</c:v>
                </c:pt>
                <c:pt idx="14">
                  <c:v>3.5339999999999996E-2</c:v>
                </c:pt>
                <c:pt idx="15">
                  <c:v>3.5299999999999998E-2</c:v>
                </c:pt>
                <c:pt idx="16">
                  <c:v>3.6749999999999998E-2</c:v>
                </c:pt>
                <c:pt idx="17">
                  <c:v>3.705E-2</c:v>
                </c:pt>
                <c:pt idx="18">
                  <c:v>3.7159999999999999E-2</c:v>
                </c:pt>
                <c:pt idx="19">
                  <c:v>3.6560000000000002E-2</c:v>
                </c:pt>
                <c:pt idx="20">
                  <c:v>3.5439999999999999E-2</c:v>
                </c:pt>
                <c:pt idx="21">
                  <c:v>3.5479999999999998E-2</c:v>
                </c:pt>
                <c:pt idx="22">
                  <c:v>3.4660000000000003E-2</c:v>
                </c:pt>
                <c:pt idx="23">
                  <c:v>3.4349999999999999E-2</c:v>
                </c:pt>
                <c:pt idx="24">
                  <c:v>3.456E-2</c:v>
                </c:pt>
                <c:pt idx="25">
                  <c:v>3.4820000000000004E-2</c:v>
                </c:pt>
                <c:pt idx="26">
                  <c:v>3.4700000000000002E-2</c:v>
                </c:pt>
                <c:pt idx="27">
                  <c:v>3.4590000000000003E-2</c:v>
                </c:pt>
                <c:pt idx="28">
                  <c:v>3.49E-2</c:v>
                </c:pt>
                <c:pt idx="29">
                  <c:v>3.603E-2</c:v>
                </c:pt>
                <c:pt idx="30">
                  <c:v>3.6260000000000001E-2</c:v>
                </c:pt>
                <c:pt idx="31">
                  <c:v>3.6379999999999996E-2</c:v>
                </c:pt>
                <c:pt idx="32">
                  <c:v>3.6940000000000001E-2</c:v>
                </c:pt>
                <c:pt idx="33">
                  <c:v>3.773E-2</c:v>
                </c:pt>
                <c:pt idx="34">
                  <c:v>3.771E-2</c:v>
                </c:pt>
                <c:pt idx="35">
                  <c:v>3.7719999999999997E-2</c:v>
                </c:pt>
                <c:pt idx="36">
                  <c:v>3.9890000000000002E-2</c:v>
                </c:pt>
                <c:pt idx="37">
                  <c:v>3.9539999999999999E-2</c:v>
                </c:pt>
                <c:pt idx="38">
                  <c:v>3.9149999999999997E-2</c:v>
                </c:pt>
                <c:pt idx="39">
                  <c:v>3.8900000000000004E-2</c:v>
                </c:pt>
                <c:pt idx="40">
                  <c:v>3.9350000000000003E-2</c:v>
                </c:pt>
                <c:pt idx="41">
                  <c:v>4.0090000000000001E-2</c:v>
                </c:pt>
                <c:pt idx="42">
                  <c:v>4.1440000000000005E-2</c:v>
                </c:pt>
                <c:pt idx="43">
                  <c:v>4.2930000000000003E-2</c:v>
                </c:pt>
                <c:pt idx="44">
                  <c:v>4.2160000000000003E-2</c:v>
                </c:pt>
                <c:pt idx="45">
                  <c:v>4.1260000000000005E-2</c:v>
                </c:pt>
                <c:pt idx="46">
                  <c:v>4.0050000000000002E-2</c:v>
                </c:pt>
                <c:pt idx="47">
                  <c:v>4.0650000000000006E-2</c:v>
                </c:pt>
                <c:pt idx="48">
                  <c:v>4.0350000000000004E-2</c:v>
                </c:pt>
                <c:pt idx="49">
                  <c:v>3.9740000000000004E-2</c:v>
                </c:pt>
                <c:pt idx="50">
                  <c:v>3.9919999999999997E-2</c:v>
                </c:pt>
                <c:pt idx="51">
                  <c:v>4.0519999999999994E-2</c:v>
                </c:pt>
                <c:pt idx="52">
                  <c:v>4.0300000000000002E-2</c:v>
                </c:pt>
                <c:pt idx="53">
                  <c:v>3.9820000000000001E-2</c:v>
                </c:pt>
                <c:pt idx="54">
                  <c:v>3.9670000000000004E-2</c:v>
                </c:pt>
                <c:pt idx="55">
                  <c:v>3.95E-2</c:v>
                </c:pt>
                <c:pt idx="56">
                  <c:v>3.9730000000000001E-2</c:v>
                </c:pt>
                <c:pt idx="57">
                  <c:v>3.9849999999999997E-2</c:v>
                </c:pt>
                <c:pt idx="58">
                  <c:v>4.0060000000000005E-2</c:v>
                </c:pt>
                <c:pt idx="59">
                  <c:v>4.0410000000000001E-2</c:v>
                </c:pt>
                <c:pt idx="60">
                  <c:v>4.0039999999999992E-2</c:v>
                </c:pt>
                <c:pt idx="61">
                  <c:v>3.9559999999999998E-2</c:v>
                </c:pt>
                <c:pt idx="62">
                  <c:v>3.9539999999999999E-2</c:v>
                </c:pt>
                <c:pt idx="63">
                  <c:v>3.9079999999999997E-2</c:v>
                </c:pt>
                <c:pt idx="64">
                  <c:v>3.8919999999999996E-2</c:v>
                </c:pt>
                <c:pt idx="65">
                  <c:v>3.8650000000000004E-2</c:v>
                </c:pt>
                <c:pt idx="66">
                  <c:v>3.8650000000000004E-2</c:v>
                </c:pt>
                <c:pt idx="67">
                  <c:v>3.8610000000000005E-2</c:v>
                </c:pt>
                <c:pt idx="68">
                  <c:v>3.848E-2</c:v>
                </c:pt>
                <c:pt idx="69">
                  <c:v>3.8300000000000001E-2</c:v>
                </c:pt>
                <c:pt idx="70">
                  <c:v>3.7400000000000003E-2</c:v>
                </c:pt>
                <c:pt idx="71">
                  <c:v>3.7450000000000004E-2</c:v>
                </c:pt>
                <c:pt idx="72">
                  <c:v>3.7699999999999997E-2</c:v>
                </c:pt>
                <c:pt idx="73">
                  <c:v>3.8170000000000003E-2</c:v>
                </c:pt>
                <c:pt idx="74">
                  <c:v>3.8469999999999997E-2</c:v>
                </c:pt>
                <c:pt idx="75">
                  <c:v>3.8789999999999998E-2</c:v>
                </c:pt>
                <c:pt idx="76">
                  <c:v>3.8870000000000002E-2</c:v>
                </c:pt>
                <c:pt idx="77">
                  <c:v>3.9550000000000002E-2</c:v>
                </c:pt>
                <c:pt idx="78">
                  <c:v>4.0250000000000001E-2</c:v>
                </c:pt>
                <c:pt idx="79">
                  <c:v>4.0199999999999993E-2</c:v>
                </c:pt>
                <c:pt idx="80">
                  <c:v>4.027E-2</c:v>
                </c:pt>
                <c:pt idx="81">
                  <c:v>4.0140000000000002E-2</c:v>
                </c:pt>
                <c:pt idx="82">
                  <c:v>4.2039999999999994E-2</c:v>
                </c:pt>
                <c:pt idx="83">
                  <c:v>4.2419999999999999E-2</c:v>
                </c:pt>
                <c:pt idx="84">
                  <c:v>4.2000000000000003E-2</c:v>
                </c:pt>
                <c:pt idx="85">
                  <c:v>4.086E-2</c:v>
                </c:pt>
                <c:pt idx="86">
                  <c:v>3.984E-2</c:v>
                </c:pt>
                <c:pt idx="87">
                  <c:v>3.9190000000000003E-2</c:v>
                </c:pt>
                <c:pt idx="88">
                  <c:v>3.9789999999999999E-2</c:v>
                </c:pt>
                <c:pt idx="89">
                  <c:v>4.0979999999999996E-2</c:v>
                </c:pt>
                <c:pt idx="90">
                  <c:v>4.1189999999999997E-2</c:v>
                </c:pt>
                <c:pt idx="91">
                  <c:v>4.0830000000000005E-2</c:v>
                </c:pt>
                <c:pt idx="92">
                  <c:v>4.104E-2</c:v>
                </c:pt>
                <c:pt idx="93">
                  <c:v>4.0910000000000002E-2</c:v>
                </c:pt>
                <c:pt idx="94">
                  <c:v>4.147E-2</c:v>
                </c:pt>
                <c:pt idx="95">
                  <c:v>4.215E-2</c:v>
                </c:pt>
                <c:pt idx="96">
                  <c:v>4.215E-2</c:v>
                </c:pt>
                <c:pt idx="97">
                  <c:v>4.2500000000000003E-2</c:v>
                </c:pt>
                <c:pt idx="98">
                  <c:v>4.3609999999999996E-2</c:v>
                </c:pt>
                <c:pt idx="99">
                  <c:v>4.3619999999999999E-2</c:v>
                </c:pt>
                <c:pt idx="100">
                  <c:v>4.3700000000000003E-2</c:v>
                </c:pt>
                <c:pt idx="101">
                  <c:v>4.3220000000000001E-2</c:v>
                </c:pt>
                <c:pt idx="102">
                  <c:v>4.2060000000000007E-2</c:v>
                </c:pt>
                <c:pt idx="103">
                  <c:v>4.1520000000000001E-2</c:v>
                </c:pt>
                <c:pt idx="104">
                  <c:v>4.1769999999999995E-2</c:v>
                </c:pt>
                <c:pt idx="105">
                  <c:v>4.095E-2</c:v>
                </c:pt>
                <c:pt idx="106">
                  <c:v>4.0519999999999994E-2</c:v>
                </c:pt>
                <c:pt idx="107">
                  <c:v>3.9789999999999999E-2</c:v>
                </c:pt>
                <c:pt idx="108">
                  <c:v>3.9149999999999997E-2</c:v>
                </c:pt>
                <c:pt idx="109">
                  <c:v>3.9019999999999999E-2</c:v>
                </c:pt>
                <c:pt idx="110">
                  <c:v>3.8989999999999997E-2</c:v>
                </c:pt>
                <c:pt idx="111">
                  <c:v>3.9609999999999999E-2</c:v>
                </c:pt>
                <c:pt idx="112">
                  <c:v>3.9969999999999999E-2</c:v>
                </c:pt>
                <c:pt idx="113">
                  <c:v>4.0379999999999999E-2</c:v>
                </c:pt>
                <c:pt idx="114">
                  <c:v>4.0350000000000004E-2</c:v>
                </c:pt>
                <c:pt idx="115">
                  <c:v>4.054E-2</c:v>
                </c:pt>
                <c:pt idx="116">
                  <c:v>4.1009999999999998E-2</c:v>
                </c:pt>
                <c:pt idx="117">
                  <c:v>4.1399999999999999E-2</c:v>
                </c:pt>
                <c:pt idx="118">
                  <c:v>4.1420000000000005E-2</c:v>
                </c:pt>
                <c:pt idx="119">
                  <c:v>4.1479999999999996E-2</c:v>
                </c:pt>
                <c:pt idx="120">
                  <c:v>4.1360000000000001E-2</c:v>
                </c:pt>
                <c:pt idx="121">
                  <c:v>4.0830000000000005E-2</c:v>
                </c:pt>
                <c:pt idx="122">
                  <c:v>4.0519999999999994E-2</c:v>
                </c:pt>
                <c:pt idx="123">
                  <c:v>4.0660000000000002E-2</c:v>
                </c:pt>
                <c:pt idx="124">
                  <c:v>4.0770000000000001E-2</c:v>
                </c:pt>
                <c:pt idx="125">
                  <c:v>4.1180000000000001E-2</c:v>
                </c:pt>
                <c:pt idx="126">
                  <c:v>4.07E-2</c:v>
                </c:pt>
                <c:pt idx="127">
                  <c:v>3.9989999999999998E-2</c:v>
                </c:pt>
                <c:pt idx="128">
                  <c:v>3.9910000000000001E-2</c:v>
                </c:pt>
                <c:pt idx="129">
                  <c:v>4.0500000000000001E-2</c:v>
                </c:pt>
                <c:pt idx="130">
                  <c:v>4.0750000000000001E-2</c:v>
                </c:pt>
                <c:pt idx="131">
                  <c:v>4.1289999999999993E-2</c:v>
                </c:pt>
                <c:pt idx="132">
                  <c:v>4.1070000000000002E-2</c:v>
                </c:pt>
                <c:pt idx="133">
                  <c:v>4.0970000000000006E-2</c:v>
                </c:pt>
                <c:pt idx="134">
                  <c:v>4.0460000000000003E-2</c:v>
                </c:pt>
                <c:pt idx="135">
                  <c:v>4.0050000000000002E-2</c:v>
                </c:pt>
                <c:pt idx="136">
                  <c:v>4.0050000000000002E-2</c:v>
                </c:pt>
                <c:pt idx="137">
                  <c:v>4.0660000000000002E-2</c:v>
                </c:pt>
                <c:pt idx="138">
                  <c:v>4.0989999999999999E-2</c:v>
                </c:pt>
                <c:pt idx="139">
                  <c:v>4.1050000000000003E-2</c:v>
                </c:pt>
                <c:pt idx="140">
                  <c:v>4.1410000000000002E-2</c:v>
                </c:pt>
                <c:pt idx="141">
                  <c:v>4.1669999999999999E-2</c:v>
                </c:pt>
                <c:pt idx="142">
                  <c:v>4.1829999999999999E-2</c:v>
                </c:pt>
                <c:pt idx="143">
                  <c:v>4.1280000000000004E-2</c:v>
                </c:pt>
                <c:pt idx="144">
                  <c:v>4.0890000000000003E-2</c:v>
                </c:pt>
                <c:pt idx="145">
                  <c:v>4.027E-2</c:v>
                </c:pt>
                <c:pt idx="146">
                  <c:v>4.0510000000000004E-2</c:v>
                </c:pt>
                <c:pt idx="147">
                  <c:v>4.0419999999999998E-2</c:v>
                </c:pt>
                <c:pt idx="148">
                  <c:v>4.0350000000000004E-2</c:v>
                </c:pt>
                <c:pt idx="149">
                  <c:v>4.0730000000000002E-2</c:v>
                </c:pt>
                <c:pt idx="150">
                  <c:v>4.1159999999999995E-2</c:v>
                </c:pt>
                <c:pt idx="151">
                  <c:v>4.165E-2</c:v>
                </c:pt>
                <c:pt idx="152">
                  <c:v>4.165E-2</c:v>
                </c:pt>
                <c:pt idx="153">
                  <c:v>4.2220000000000008E-2</c:v>
                </c:pt>
                <c:pt idx="154">
                  <c:v>4.2099999999999999E-2</c:v>
                </c:pt>
                <c:pt idx="155">
                  <c:v>4.1870000000000004E-2</c:v>
                </c:pt>
                <c:pt idx="156">
                  <c:v>4.1440000000000005E-2</c:v>
                </c:pt>
                <c:pt idx="157">
                  <c:v>4.1340000000000002E-2</c:v>
                </c:pt>
                <c:pt idx="158">
                  <c:v>4.1639999999999996E-2</c:v>
                </c:pt>
                <c:pt idx="159">
                  <c:v>4.163E-2</c:v>
                </c:pt>
                <c:pt idx="160">
                  <c:v>4.1529999999999997E-2</c:v>
                </c:pt>
                <c:pt idx="161">
                  <c:v>4.1420000000000005E-2</c:v>
                </c:pt>
                <c:pt idx="162">
                  <c:v>4.1159999999999995E-2</c:v>
                </c:pt>
                <c:pt idx="163">
                  <c:v>4.0960000000000003E-2</c:v>
                </c:pt>
                <c:pt idx="164">
                  <c:v>4.0419999999999998E-2</c:v>
                </c:pt>
                <c:pt idx="165">
                  <c:v>4.0069999999999995E-2</c:v>
                </c:pt>
                <c:pt idx="166">
                  <c:v>4.0129999999999999E-2</c:v>
                </c:pt>
                <c:pt idx="167">
                  <c:v>4.0330000000000005E-2</c:v>
                </c:pt>
                <c:pt idx="168">
                  <c:v>4.0330000000000005E-2</c:v>
                </c:pt>
                <c:pt idx="169">
                  <c:v>4.0500000000000001E-2</c:v>
                </c:pt>
                <c:pt idx="170">
                  <c:v>4.0689999999999997E-2</c:v>
                </c:pt>
                <c:pt idx="171">
                  <c:v>4.0670000000000005E-2</c:v>
                </c:pt>
                <c:pt idx="172">
                  <c:v>4.0650000000000006E-2</c:v>
                </c:pt>
                <c:pt idx="173">
                  <c:v>4.0730000000000002E-2</c:v>
                </c:pt>
                <c:pt idx="174">
                  <c:v>4.0819999999999995E-2</c:v>
                </c:pt>
                <c:pt idx="175">
                  <c:v>4.061E-2</c:v>
                </c:pt>
                <c:pt idx="176">
                  <c:v>4.054E-2</c:v>
                </c:pt>
                <c:pt idx="177">
                  <c:v>4.0670000000000005E-2</c:v>
                </c:pt>
                <c:pt idx="178">
                  <c:v>4.0849999999999997E-2</c:v>
                </c:pt>
                <c:pt idx="179">
                  <c:v>4.1609999999999994E-2</c:v>
                </c:pt>
                <c:pt idx="180">
                  <c:v>4.1420000000000005E-2</c:v>
                </c:pt>
                <c:pt idx="181">
                  <c:v>4.1369999999999997E-2</c:v>
                </c:pt>
                <c:pt idx="182">
                  <c:v>4.1459999999999997E-2</c:v>
                </c:pt>
                <c:pt idx="183">
                  <c:v>4.2359999999999995E-2</c:v>
                </c:pt>
                <c:pt idx="184">
                  <c:v>4.2750000000000003E-2</c:v>
                </c:pt>
                <c:pt idx="185">
                  <c:v>4.4340000000000004E-2</c:v>
                </c:pt>
                <c:pt idx="186">
                  <c:v>4.4379999999999996E-2</c:v>
                </c:pt>
                <c:pt idx="187">
                  <c:v>4.4640000000000006E-2</c:v>
                </c:pt>
                <c:pt idx="188">
                  <c:v>4.4429999999999997E-2</c:v>
                </c:pt>
                <c:pt idx="189">
                  <c:v>4.4790000000000003E-2</c:v>
                </c:pt>
                <c:pt idx="190">
                  <c:v>4.4409999999999998E-2</c:v>
                </c:pt>
                <c:pt idx="191">
                  <c:v>4.4340000000000004E-2</c:v>
                </c:pt>
                <c:pt idx="192">
                  <c:v>4.36E-2</c:v>
                </c:pt>
                <c:pt idx="193">
                  <c:v>4.3639999999999998E-2</c:v>
                </c:pt>
                <c:pt idx="194">
                  <c:v>4.367E-2</c:v>
                </c:pt>
                <c:pt idx="195">
                  <c:v>4.3220000000000001E-2</c:v>
                </c:pt>
                <c:pt idx="196">
                  <c:v>4.2689999999999999E-2</c:v>
                </c:pt>
                <c:pt idx="197">
                  <c:v>4.308E-2</c:v>
                </c:pt>
                <c:pt idx="198">
                  <c:v>4.3230000000000005E-2</c:v>
                </c:pt>
                <c:pt idx="199">
                  <c:v>4.3419999999999993E-2</c:v>
                </c:pt>
                <c:pt idx="200">
                  <c:v>4.3579999999999994E-2</c:v>
                </c:pt>
                <c:pt idx="201">
                  <c:v>4.376E-2</c:v>
                </c:pt>
                <c:pt idx="202">
                  <c:v>4.3869999999999992E-2</c:v>
                </c:pt>
                <c:pt idx="203">
                  <c:v>4.4150000000000002E-2</c:v>
                </c:pt>
                <c:pt idx="204">
                  <c:v>4.3979999999999998E-2</c:v>
                </c:pt>
                <c:pt idx="205">
                  <c:v>4.4260000000000001E-2</c:v>
                </c:pt>
                <c:pt idx="206">
                  <c:v>4.4979999999999999E-2</c:v>
                </c:pt>
                <c:pt idx="207">
                  <c:v>4.6260000000000003E-2</c:v>
                </c:pt>
                <c:pt idx="208">
                  <c:v>4.6710000000000002E-2</c:v>
                </c:pt>
                <c:pt idx="209">
                  <c:v>4.6760000000000003E-2</c:v>
                </c:pt>
                <c:pt idx="210">
                  <c:v>4.6780000000000002E-2</c:v>
                </c:pt>
                <c:pt idx="211">
                  <c:v>4.6029999999999995E-2</c:v>
                </c:pt>
                <c:pt idx="212">
                  <c:v>4.5410000000000006E-2</c:v>
                </c:pt>
                <c:pt idx="213">
                  <c:v>4.5199999999999997E-2</c:v>
                </c:pt>
                <c:pt idx="214">
                  <c:v>4.5019999999999998E-2</c:v>
                </c:pt>
                <c:pt idx="215">
                  <c:v>4.5700000000000005E-2</c:v>
                </c:pt>
                <c:pt idx="216">
                  <c:v>4.6260000000000003E-2</c:v>
                </c:pt>
                <c:pt idx="217">
                  <c:v>4.6790000000000005E-2</c:v>
                </c:pt>
                <c:pt idx="218">
                  <c:v>4.7259999999999996E-2</c:v>
                </c:pt>
                <c:pt idx="219">
                  <c:v>4.7439999999999996E-2</c:v>
                </c:pt>
                <c:pt idx="220">
                  <c:v>4.7480000000000001E-2</c:v>
                </c:pt>
                <c:pt idx="221">
                  <c:v>4.7449999999999999E-2</c:v>
                </c:pt>
                <c:pt idx="222">
                  <c:v>4.8010000000000004E-2</c:v>
                </c:pt>
                <c:pt idx="223">
                  <c:v>4.9320000000000003E-2</c:v>
                </c:pt>
                <c:pt idx="224">
                  <c:v>4.99E-2</c:v>
                </c:pt>
                <c:pt idx="225">
                  <c:v>5.1799999999999999E-2</c:v>
                </c:pt>
                <c:pt idx="226">
                  <c:v>5.271E-2</c:v>
                </c:pt>
                <c:pt idx="227">
                  <c:v>5.2499999999999998E-2</c:v>
                </c:pt>
                <c:pt idx="228">
                  <c:v>5.0620000000000005E-2</c:v>
                </c:pt>
                <c:pt idx="229">
                  <c:v>4.981E-2</c:v>
                </c:pt>
                <c:pt idx="230">
                  <c:v>4.9400000000000006E-2</c:v>
                </c:pt>
                <c:pt idx="231">
                  <c:v>4.9299999999999997E-2</c:v>
                </c:pt>
                <c:pt idx="232">
                  <c:v>4.8719999999999999E-2</c:v>
                </c:pt>
                <c:pt idx="233">
                  <c:v>4.8739999999999999E-2</c:v>
                </c:pt>
                <c:pt idx="234">
                  <c:v>4.9059999999999999E-2</c:v>
                </c:pt>
                <c:pt idx="235">
                  <c:v>4.9050000000000003E-2</c:v>
                </c:pt>
                <c:pt idx="236">
                  <c:v>4.9119999999999997E-2</c:v>
                </c:pt>
                <c:pt idx="237">
                  <c:v>4.9779999999999998E-2</c:v>
                </c:pt>
                <c:pt idx="238">
                  <c:v>5.0330000000000007E-2</c:v>
                </c:pt>
                <c:pt idx="239">
                  <c:v>5.0330000000000007E-2</c:v>
                </c:pt>
                <c:pt idx="240">
                  <c:v>5.1020000000000003E-2</c:v>
                </c:pt>
                <c:pt idx="241">
                  <c:v>5.1900000000000002E-2</c:v>
                </c:pt>
                <c:pt idx="242">
                  <c:v>5.1820000000000005E-2</c:v>
                </c:pt>
                <c:pt idx="243">
                  <c:v>5.1650000000000001E-2</c:v>
                </c:pt>
                <c:pt idx="244">
                  <c:v>5.1340000000000004E-2</c:v>
                </c:pt>
                <c:pt idx="245">
                  <c:v>5.1330000000000001E-2</c:v>
                </c:pt>
                <c:pt idx="246">
                  <c:v>5.1159999999999997E-2</c:v>
                </c:pt>
                <c:pt idx="247">
                  <c:v>5.1150000000000001E-2</c:v>
                </c:pt>
                <c:pt idx="248">
                  <c:v>5.1109999999999996E-2</c:v>
                </c:pt>
                <c:pt idx="249">
                  <c:v>5.1060000000000001E-2</c:v>
                </c:pt>
                <c:pt idx="250">
                  <c:v>5.1299999999999998E-2</c:v>
                </c:pt>
                <c:pt idx="251">
                  <c:v>5.1500000000000004E-2</c:v>
                </c:pt>
                <c:pt idx="252">
                  <c:v>5.1799999999999999E-2</c:v>
                </c:pt>
                <c:pt idx="253">
                  <c:v>5.2580000000000002E-2</c:v>
                </c:pt>
                <c:pt idx="254">
                  <c:v>5.3620000000000001E-2</c:v>
                </c:pt>
                <c:pt idx="255">
                  <c:v>5.4789999999999998E-2</c:v>
                </c:pt>
                <c:pt idx="256">
                  <c:v>5.4530000000000002E-2</c:v>
                </c:pt>
                <c:pt idx="257">
                  <c:v>5.423E-2</c:v>
                </c:pt>
                <c:pt idx="258">
                  <c:v>5.4450000000000005E-2</c:v>
                </c:pt>
                <c:pt idx="259">
                  <c:v>5.5079999999999997E-2</c:v>
                </c:pt>
                <c:pt idx="260">
                  <c:v>5.6870000000000004E-2</c:v>
                </c:pt>
                <c:pt idx="261">
                  <c:v>5.62E-2</c:v>
                </c:pt>
                <c:pt idx="262">
                  <c:v>5.5990000000000005E-2</c:v>
                </c:pt>
                <c:pt idx="263">
                  <c:v>5.5930000000000001E-2</c:v>
                </c:pt>
                <c:pt idx="264">
                  <c:v>5.6410000000000002E-2</c:v>
                </c:pt>
                <c:pt idx="265">
                  <c:v>5.6660000000000002E-2</c:v>
                </c:pt>
                <c:pt idx="266">
                  <c:v>5.663E-2</c:v>
                </c:pt>
                <c:pt idx="267">
                  <c:v>5.6760000000000005E-2</c:v>
                </c:pt>
                <c:pt idx="268">
                  <c:v>5.704E-2</c:v>
                </c:pt>
                <c:pt idx="269">
                  <c:v>5.7000000000000002E-2</c:v>
                </c:pt>
                <c:pt idx="270">
                  <c:v>5.7249999999999995E-2</c:v>
                </c:pt>
                <c:pt idx="271">
                  <c:v>5.6609999999999994E-2</c:v>
                </c:pt>
                <c:pt idx="272">
                  <c:v>5.7149999999999999E-2</c:v>
                </c:pt>
                <c:pt idx="273">
                  <c:v>5.8029999999999998E-2</c:v>
                </c:pt>
                <c:pt idx="274">
                  <c:v>5.849E-2</c:v>
                </c:pt>
                <c:pt idx="275">
                  <c:v>5.8779999999999999E-2</c:v>
                </c:pt>
                <c:pt idx="276">
                  <c:v>5.8169999999999999E-2</c:v>
                </c:pt>
                <c:pt idx="277">
                  <c:v>5.867E-2</c:v>
                </c:pt>
                <c:pt idx="278">
                  <c:v>5.9040000000000002E-2</c:v>
                </c:pt>
                <c:pt idx="279">
                  <c:v>5.9820000000000005E-2</c:v>
                </c:pt>
                <c:pt idx="280">
                  <c:v>5.9549999999999999E-2</c:v>
                </c:pt>
                <c:pt idx="281">
                  <c:v>5.9429999999999997E-2</c:v>
                </c:pt>
                <c:pt idx="282">
                  <c:v>5.9539999999999996E-2</c:v>
                </c:pt>
                <c:pt idx="283">
                  <c:v>5.9800000000000006E-2</c:v>
                </c:pt>
                <c:pt idx="284">
                  <c:v>6.0289999999999996E-2</c:v>
                </c:pt>
                <c:pt idx="285">
                  <c:v>6.1120000000000001E-2</c:v>
                </c:pt>
                <c:pt idx="286">
                  <c:v>6.3990000000000005E-2</c:v>
                </c:pt>
                <c:pt idx="287">
                  <c:v>6.1890000000000001E-2</c:v>
                </c:pt>
                <c:pt idx="288">
                  <c:v>6.148E-2</c:v>
                </c:pt>
                <c:pt idx="289">
                  <c:v>6.0979999999999999E-2</c:v>
                </c:pt>
                <c:pt idx="290">
                  <c:v>6.1239999999999996E-2</c:v>
                </c:pt>
                <c:pt idx="291">
                  <c:v>6.1130000000000004E-2</c:v>
                </c:pt>
                <c:pt idx="292">
                  <c:v>6.2039999999999998E-2</c:v>
                </c:pt>
                <c:pt idx="293">
                  <c:v>6.2800000000000009E-2</c:v>
                </c:pt>
                <c:pt idx="294">
                  <c:v>6.3009999999999997E-2</c:v>
                </c:pt>
                <c:pt idx="295">
                  <c:v>6.2110000000000005E-2</c:v>
                </c:pt>
                <c:pt idx="296">
                  <c:v>6.2400000000000004E-2</c:v>
                </c:pt>
                <c:pt idx="297">
                  <c:v>6.1950000000000005E-2</c:v>
                </c:pt>
                <c:pt idx="298">
                  <c:v>6.2560000000000004E-2</c:v>
                </c:pt>
                <c:pt idx="299">
                  <c:v>6.2880000000000005E-2</c:v>
                </c:pt>
                <c:pt idx="300">
                  <c:v>6.1760000000000002E-2</c:v>
                </c:pt>
                <c:pt idx="301">
                  <c:v>6.0350000000000001E-2</c:v>
                </c:pt>
                <c:pt idx="302">
                  <c:v>5.9580000000000001E-2</c:v>
                </c:pt>
                <c:pt idx="303">
                  <c:v>6.0049999999999999E-2</c:v>
                </c:pt>
                <c:pt idx="304">
                  <c:v>6.0690000000000001E-2</c:v>
                </c:pt>
                <c:pt idx="305">
                  <c:v>6.0810000000000003E-2</c:v>
                </c:pt>
                <c:pt idx="306">
                  <c:v>6.0420000000000001E-2</c:v>
                </c:pt>
                <c:pt idx="307">
                  <c:v>6.0499999999999998E-2</c:v>
                </c:pt>
                <c:pt idx="308">
                  <c:v>6.0350000000000001E-2</c:v>
                </c:pt>
                <c:pt idx="309">
                  <c:v>5.9770000000000004E-2</c:v>
                </c:pt>
                <c:pt idx="310">
                  <c:v>5.9820000000000005E-2</c:v>
                </c:pt>
                <c:pt idx="311">
                  <c:v>6.0199999999999997E-2</c:v>
                </c:pt>
                <c:pt idx="312">
                  <c:v>6.0949999999999997E-2</c:v>
                </c:pt>
                <c:pt idx="313">
                  <c:v>5.9909999999999998E-2</c:v>
                </c:pt>
                <c:pt idx="314">
                  <c:v>6.0430000000000005E-2</c:v>
                </c:pt>
                <c:pt idx="315">
                  <c:v>6.1269999999999998E-2</c:v>
                </c:pt>
                <c:pt idx="316">
                  <c:v>6.1409999999999999E-2</c:v>
                </c:pt>
                <c:pt idx="317">
                  <c:v>6.2210000000000001E-2</c:v>
                </c:pt>
                <c:pt idx="318">
                  <c:v>6.4560000000000006E-2</c:v>
                </c:pt>
                <c:pt idx="319">
                  <c:v>6.4619999999999997E-2</c:v>
                </c:pt>
                <c:pt idx="320">
                  <c:v>6.4939999999999998E-2</c:v>
                </c:pt>
                <c:pt idx="321">
                  <c:v>6.5229999999999996E-2</c:v>
                </c:pt>
                <c:pt idx="322">
                  <c:v>6.5960000000000005E-2</c:v>
                </c:pt>
                <c:pt idx="323">
                  <c:v>6.7269999999999996E-2</c:v>
                </c:pt>
                <c:pt idx="324">
                  <c:v>6.6900000000000001E-2</c:v>
                </c:pt>
                <c:pt idx="325">
                  <c:v>6.7360000000000003E-2</c:v>
                </c:pt>
                <c:pt idx="326">
                  <c:v>6.794E-2</c:v>
                </c:pt>
                <c:pt idx="327">
                  <c:v>6.8040000000000003E-2</c:v>
                </c:pt>
                <c:pt idx="328">
                  <c:v>6.7979999999999999E-2</c:v>
                </c:pt>
                <c:pt idx="329">
                  <c:v>6.8570000000000006E-2</c:v>
                </c:pt>
                <c:pt idx="330">
                  <c:v>6.9199999999999998E-2</c:v>
                </c:pt>
                <c:pt idx="331">
                  <c:v>7.0679999999999993E-2</c:v>
                </c:pt>
                <c:pt idx="332">
                  <c:v>7.1900000000000006E-2</c:v>
                </c:pt>
                <c:pt idx="333">
                  <c:v>7.195E-2</c:v>
                </c:pt>
                <c:pt idx="334">
                  <c:v>7.1590000000000001E-2</c:v>
                </c:pt>
                <c:pt idx="335">
                  <c:v>7.2230000000000003E-2</c:v>
                </c:pt>
                <c:pt idx="336">
                  <c:v>7.399E-2</c:v>
                </c:pt>
                <c:pt idx="337">
                  <c:v>7.5990000000000002E-2</c:v>
                </c:pt>
                <c:pt idx="338">
                  <c:v>7.6109999999999997E-2</c:v>
                </c:pt>
                <c:pt idx="339">
                  <c:v>7.5569999999999998E-2</c:v>
                </c:pt>
                <c:pt idx="340">
                  <c:v>7.535E-2</c:v>
                </c:pt>
                <c:pt idx="341">
                  <c:v>7.4929999999999997E-2</c:v>
                </c:pt>
                <c:pt idx="342">
                  <c:v>7.5029999999999999E-2</c:v>
                </c:pt>
                <c:pt idx="343">
                  <c:v>7.5480000000000005E-2</c:v>
                </c:pt>
                <c:pt idx="344">
                  <c:v>7.5869999999999993E-2</c:v>
                </c:pt>
                <c:pt idx="345">
                  <c:v>7.6249999999999998E-2</c:v>
                </c:pt>
                <c:pt idx="346">
                  <c:v>7.5859999999999997E-2</c:v>
                </c:pt>
                <c:pt idx="347">
                  <c:v>7.5730000000000006E-2</c:v>
                </c:pt>
                <c:pt idx="348">
                  <c:v>7.4529999999999999E-2</c:v>
                </c:pt>
                <c:pt idx="349">
                  <c:v>7.1800000000000003E-2</c:v>
                </c:pt>
                <c:pt idx="350">
                  <c:v>7.0120000000000002E-2</c:v>
                </c:pt>
                <c:pt idx="351">
                  <c:v>6.8879999999999997E-2</c:v>
                </c:pt>
                <c:pt idx="352">
                  <c:v>6.744E-2</c:v>
                </c:pt>
                <c:pt idx="353">
                  <c:v>6.7409999999999998E-2</c:v>
                </c:pt>
                <c:pt idx="354">
                  <c:v>6.787E-2</c:v>
                </c:pt>
                <c:pt idx="355">
                  <c:v>6.8839999999999998E-2</c:v>
                </c:pt>
                <c:pt idx="356">
                  <c:v>6.9629999999999997E-2</c:v>
                </c:pt>
                <c:pt idx="357">
                  <c:v>6.9930000000000006E-2</c:v>
                </c:pt>
                <c:pt idx="358">
                  <c:v>7.0890000000000009E-2</c:v>
                </c:pt>
                <c:pt idx="359">
                  <c:v>7.3209999999999997E-2</c:v>
                </c:pt>
                <c:pt idx="360">
                  <c:v>7.5209999999999999E-2</c:v>
                </c:pt>
                <c:pt idx="361">
                  <c:v>8.0519999999999994E-2</c:v>
                </c:pt>
                <c:pt idx="362">
                  <c:v>8.2400000000000001E-2</c:v>
                </c:pt>
                <c:pt idx="363">
                  <c:v>8.1039999999999987E-2</c:v>
                </c:pt>
                <c:pt idx="364">
                  <c:v>8.1500000000000003E-2</c:v>
                </c:pt>
                <c:pt idx="365">
                  <c:v>8.1199999999999994E-2</c:v>
                </c:pt>
                <c:pt idx="366">
                  <c:v>8.5749999999999993E-2</c:v>
                </c:pt>
                <c:pt idx="367">
                  <c:v>8.6389999999999995E-2</c:v>
                </c:pt>
                <c:pt idx="368">
                  <c:v>8.5310000000000011E-2</c:v>
                </c:pt>
                <c:pt idx="369">
                  <c:v>8.5009999999999988E-2</c:v>
                </c:pt>
                <c:pt idx="370">
                  <c:v>8.5320000000000007E-2</c:v>
                </c:pt>
                <c:pt idx="371">
                  <c:v>8.7910000000000002E-2</c:v>
                </c:pt>
                <c:pt idx="372">
                  <c:v>8.9130000000000001E-2</c:v>
                </c:pt>
                <c:pt idx="373">
                  <c:v>8.904999999999999E-2</c:v>
                </c:pt>
                <c:pt idx="374">
                  <c:v>8.7440000000000004E-2</c:v>
                </c:pt>
                <c:pt idx="375">
                  <c:v>8.6349999999999996E-2</c:v>
                </c:pt>
                <c:pt idx="376">
                  <c:v>8.5890000000000008E-2</c:v>
                </c:pt>
                <c:pt idx="377">
                  <c:v>8.5790000000000005E-2</c:v>
                </c:pt>
                <c:pt idx="378">
                  <c:v>8.5610000000000006E-2</c:v>
                </c:pt>
                <c:pt idx="379">
                  <c:v>8.5349999999999995E-2</c:v>
                </c:pt>
                <c:pt idx="380">
                  <c:v>8.6190000000000003E-2</c:v>
                </c:pt>
                <c:pt idx="381">
                  <c:v>8.7370000000000003E-2</c:v>
                </c:pt>
                <c:pt idx="382">
                  <c:v>8.993000000000001E-2</c:v>
                </c:pt>
                <c:pt idx="383">
                  <c:v>9.0410000000000004E-2</c:v>
                </c:pt>
                <c:pt idx="384">
                  <c:v>8.9920000000000014E-2</c:v>
                </c:pt>
                <c:pt idx="385">
                  <c:v>8.9329999999999993E-2</c:v>
                </c:pt>
                <c:pt idx="386">
                  <c:v>8.7859999999999994E-2</c:v>
                </c:pt>
                <c:pt idx="387">
                  <c:v>8.6500000000000007E-2</c:v>
                </c:pt>
                <c:pt idx="388">
                  <c:v>8.448E-2</c:v>
                </c:pt>
                <c:pt idx="389">
                  <c:v>8.1790000000000002E-2</c:v>
                </c:pt>
                <c:pt idx="390">
                  <c:v>8.1910000000000011E-2</c:v>
                </c:pt>
                <c:pt idx="391">
                  <c:v>8.1519999999999995E-2</c:v>
                </c:pt>
                <c:pt idx="392">
                  <c:v>7.9340000000000008E-2</c:v>
                </c:pt>
                <c:pt idx="393">
                  <c:v>7.7130000000000004E-2</c:v>
                </c:pt>
                <c:pt idx="394">
                  <c:v>7.6090000000000005E-2</c:v>
                </c:pt>
                <c:pt idx="395">
                  <c:v>7.7229999999999993E-2</c:v>
                </c:pt>
                <c:pt idx="396">
                  <c:v>7.7210000000000001E-2</c:v>
                </c:pt>
                <c:pt idx="397">
                  <c:v>7.551999999999999E-2</c:v>
                </c:pt>
                <c:pt idx="398">
                  <c:v>7.671E-2</c:v>
                </c:pt>
                <c:pt idx="399">
                  <c:v>7.553E-2</c:v>
                </c:pt>
                <c:pt idx="400">
                  <c:v>7.6589999999999991E-2</c:v>
                </c:pt>
                <c:pt idx="401">
                  <c:v>7.4819999999999998E-2</c:v>
                </c:pt>
                <c:pt idx="402">
                  <c:v>7.4069999999999997E-2</c:v>
                </c:pt>
                <c:pt idx="403">
                  <c:v>7.3910000000000003E-2</c:v>
                </c:pt>
                <c:pt idx="404">
                  <c:v>7.3760000000000006E-2</c:v>
                </c:pt>
                <c:pt idx="405">
                  <c:v>7.46E-2</c:v>
                </c:pt>
                <c:pt idx="406">
                  <c:v>7.6120000000000007E-2</c:v>
                </c:pt>
                <c:pt idx="407">
                  <c:v>7.5609999999999997E-2</c:v>
                </c:pt>
                <c:pt idx="408">
                  <c:v>7.6759999999999995E-2</c:v>
                </c:pt>
                <c:pt idx="409">
                  <c:v>7.9160000000000008E-2</c:v>
                </c:pt>
                <c:pt idx="410">
                  <c:v>7.8820000000000001E-2</c:v>
                </c:pt>
                <c:pt idx="411">
                  <c:v>7.8399999999999997E-2</c:v>
                </c:pt>
                <c:pt idx="412">
                  <c:v>7.8049999999999994E-2</c:v>
                </c:pt>
                <c:pt idx="413">
                  <c:v>7.8259999999999996E-2</c:v>
                </c:pt>
                <c:pt idx="414">
                  <c:v>8.0149999999999999E-2</c:v>
                </c:pt>
                <c:pt idx="415">
                  <c:v>8.0250000000000002E-2</c:v>
                </c:pt>
                <c:pt idx="416">
                  <c:v>8.1180000000000002E-2</c:v>
                </c:pt>
                <c:pt idx="417">
                  <c:v>8.2299999999999998E-2</c:v>
                </c:pt>
                <c:pt idx="418">
                  <c:v>8.2140000000000005E-2</c:v>
                </c:pt>
                <c:pt idx="419">
                  <c:v>8.3420000000000008E-2</c:v>
                </c:pt>
                <c:pt idx="420">
                  <c:v>8.3339999999999997E-2</c:v>
                </c:pt>
                <c:pt idx="421">
                  <c:v>8.3049999999999999E-2</c:v>
                </c:pt>
                <c:pt idx="422">
                  <c:v>8.2500000000000004E-2</c:v>
                </c:pt>
                <c:pt idx="423">
                  <c:v>8.1439999999999999E-2</c:v>
                </c:pt>
                <c:pt idx="424">
                  <c:v>8.2360000000000003E-2</c:v>
                </c:pt>
                <c:pt idx="425">
                  <c:v>8.3160000000000012E-2</c:v>
                </c:pt>
                <c:pt idx="426">
                  <c:v>8.4000000000000005E-2</c:v>
                </c:pt>
                <c:pt idx="427">
                  <c:v>8.6120000000000002E-2</c:v>
                </c:pt>
                <c:pt idx="428">
                  <c:v>8.7110000000000007E-2</c:v>
                </c:pt>
                <c:pt idx="429">
                  <c:v>8.9109999999999995E-2</c:v>
                </c:pt>
                <c:pt idx="430">
                  <c:v>8.9160000000000003E-2</c:v>
                </c:pt>
                <c:pt idx="431">
                  <c:v>9.0060000000000001E-2</c:v>
                </c:pt>
                <c:pt idx="432">
                  <c:v>9.2249999999999999E-2</c:v>
                </c:pt>
                <c:pt idx="433">
                  <c:v>9.5600000000000004E-2</c:v>
                </c:pt>
                <c:pt idx="434">
                  <c:v>9.8369999999999999E-2</c:v>
                </c:pt>
                <c:pt idx="435">
                  <c:v>9.7729999999999997E-2</c:v>
                </c:pt>
                <c:pt idx="436">
                  <c:v>9.8360000000000003E-2</c:v>
                </c:pt>
                <c:pt idx="437">
                  <c:v>9.8330000000000001E-2</c:v>
                </c:pt>
                <c:pt idx="438">
                  <c:v>9.6759999999999999E-2</c:v>
                </c:pt>
                <c:pt idx="439">
                  <c:v>9.2539999999999997E-2</c:v>
                </c:pt>
                <c:pt idx="440">
                  <c:v>9.4839999999999994E-2</c:v>
                </c:pt>
                <c:pt idx="441">
                  <c:v>9.5070000000000002E-2</c:v>
                </c:pt>
                <c:pt idx="442">
                  <c:v>9.7019999999999995E-2</c:v>
                </c:pt>
                <c:pt idx="443">
                  <c:v>9.9559999999999996E-2</c:v>
                </c:pt>
                <c:pt idx="444">
                  <c:v>0.10034000000000001</c:v>
                </c:pt>
                <c:pt idx="445">
                  <c:v>0.10214000000000001</c:v>
                </c:pt>
                <c:pt idx="446">
                  <c:v>0.10234</c:v>
                </c:pt>
                <c:pt idx="447">
                  <c:v>0.10253999999999999</c:v>
                </c:pt>
                <c:pt idx="448">
                  <c:v>0.10239000000000001</c:v>
                </c:pt>
                <c:pt idx="449">
                  <c:v>0.10483000000000001</c:v>
                </c:pt>
                <c:pt idx="450">
                  <c:v>0.10909000000000001</c:v>
                </c:pt>
                <c:pt idx="451">
                  <c:v>0.11074999999999999</c:v>
                </c:pt>
                <c:pt idx="452">
                  <c:v>0.10936</c:v>
                </c:pt>
                <c:pt idx="453">
                  <c:v>0.10717</c:v>
                </c:pt>
                <c:pt idx="454">
                  <c:v>0.10563</c:v>
                </c:pt>
                <c:pt idx="455">
                  <c:v>0.10417999999999999</c:v>
                </c:pt>
                <c:pt idx="456">
                  <c:v>0.10291</c:v>
                </c:pt>
                <c:pt idx="457">
                  <c:v>0.10342999999999999</c:v>
                </c:pt>
                <c:pt idx="458">
                  <c:v>0.10276</c:v>
                </c:pt>
                <c:pt idx="459">
                  <c:v>0.10349</c:v>
                </c:pt>
                <c:pt idx="460">
                  <c:v>0.10523999999999999</c:v>
                </c:pt>
                <c:pt idx="461">
                  <c:v>0.10455</c:v>
                </c:pt>
                <c:pt idx="462">
                  <c:v>0.10300000000000001</c:v>
                </c:pt>
                <c:pt idx="463">
                  <c:v>0.10153000000000001</c:v>
                </c:pt>
                <c:pt idx="464">
                  <c:v>0.10081</c:v>
                </c:pt>
                <c:pt idx="465">
                  <c:v>9.4670000000000004E-2</c:v>
                </c:pt>
                <c:pt idx="466">
                  <c:v>9.2179999999999998E-2</c:v>
                </c:pt>
                <c:pt idx="467">
                  <c:v>8.9179999999999995E-2</c:v>
                </c:pt>
                <c:pt idx="468">
                  <c:v>8.7819999999999995E-2</c:v>
                </c:pt>
                <c:pt idx="469">
                  <c:v>8.8960000000000011E-2</c:v>
                </c:pt>
                <c:pt idx="470">
                  <c:v>8.8849999999999998E-2</c:v>
                </c:pt>
                <c:pt idx="471">
                  <c:v>8.9499999999999996E-2</c:v>
                </c:pt>
                <c:pt idx="472">
                  <c:v>8.8200000000000001E-2</c:v>
                </c:pt>
                <c:pt idx="473">
                  <c:v>8.7590000000000001E-2</c:v>
                </c:pt>
                <c:pt idx="474">
                  <c:v>8.746000000000001E-2</c:v>
                </c:pt>
                <c:pt idx="475">
                  <c:v>8.7959999999999997E-2</c:v>
                </c:pt>
                <c:pt idx="476">
                  <c:v>8.8010000000000005E-2</c:v>
                </c:pt>
                <c:pt idx="477">
                  <c:v>8.7889999999999996E-2</c:v>
                </c:pt>
                <c:pt idx="478">
                  <c:v>8.6989999999999998E-2</c:v>
                </c:pt>
                <c:pt idx="479">
                  <c:v>8.6150000000000004E-2</c:v>
                </c:pt>
                <c:pt idx="480">
                  <c:v>8.6460000000000009E-2</c:v>
                </c:pt>
                <c:pt idx="481">
                  <c:v>8.7959999999999997E-2</c:v>
                </c:pt>
                <c:pt idx="482">
                  <c:v>8.7120000000000003E-2</c:v>
                </c:pt>
                <c:pt idx="483">
                  <c:v>8.6449999999999999E-2</c:v>
                </c:pt>
                <c:pt idx="484">
                  <c:v>8.6319999999999994E-2</c:v>
                </c:pt>
                <c:pt idx="485">
                  <c:v>8.5800000000000001E-2</c:v>
                </c:pt>
                <c:pt idx="486">
                  <c:v>8.4229999999999999E-2</c:v>
                </c:pt>
                <c:pt idx="487">
                  <c:v>8.4529999999999994E-2</c:v>
                </c:pt>
                <c:pt idx="488">
                  <c:v>8.4410000000000013E-2</c:v>
                </c:pt>
                <c:pt idx="489">
                  <c:v>8.4949999999999998E-2</c:v>
                </c:pt>
                <c:pt idx="490">
                  <c:v>8.5760000000000003E-2</c:v>
                </c:pt>
                <c:pt idx="491">
                  <c:v>8.6359999999999992E-2</c:v>
                </c:pt>
                <c:pt idx="492">
                  <c:v>8.4730000000000014E-2</c:v>
                </c:pt>
                <c:pt idx="493">
                  <c:v>8.4870000000000001E-2</c:v>
                </c:pt>
                <c:pt idx="494">
                  <c:v>8.4860000000000005E-2</c:v>
                </c:pt>
                <c:pt idx="495">
                  <c:v>8.4930000000000005E-2</c:v>
                </c:pt>
                <c:pt idx="496">
                  <c:v>8.5280000000000009E-2</c:v>
                </c:pt>
                <c:pt idx="497">
                  <c:v>8.5269999999999999E-2</c:v>
                </c:pt>
                <c:pt idx="498">
                  <c:v>8.5489999999999997E-2</c:v>
                </c:pt>
                <c:pt idx="499">
                  <c:v>8.4650000000000003E-2</c:v>
                </c:pt>
                <c:pt idx="500">
                  <c:v>8.4139999999999993E-2</c:v>
                </c:pt>
                <c:pt idx="501">
                  <c:v>8.4930000000000005E-2</c:v>
                </c:pt>
                <c:pt idx="502">
                  <c:v>8.4339999999999998E-2</c:v>
                </c:pt>
                <c:pt idx="503">
                  <c:v>8.3580000000000002E-2</c:v>
                </c:pt>
                <c:pt idx="504">
                  <c:v>8.5210000000000008E-2</c:v>
                </c:pt>
                <c:pt idx="505">
                  <c:v>8.3400000000000002E-2</c:v>
                </c:pt>
                <c:pt idx="506">
                  <c:v>8.09E-2</c:v>
                </c:pt>
                <c:pt idx="507">
                  <c:v>8.0610000000000001E-2</c:v>
                </c:pt>
                <c:pt idx="508">
                  <c:v>8.004E-2</c:v>
                </c:pt>
                <c:pt idx="509">
                  <c:v>7.8060000000000004E-2</c:v>
                </c:pt>
                <c:pt idx="510">
                  <c:v>7.7950000000000005E-2</c:v>
                </c:pt>
                <c:pt idx="511">
                  <c:v>7.8140000000000001E-2</c:v>
                </c:pt>
                <c:pt idx="512">
                  <c:v>7.8210000000000002E-2</c:v>
                </c:pt>
                <c:pt idx="513">
                  <c:v>7.7920000000000003E-2</c:v>
                </c:pt>
                <c:pt idx="514">
                  <c:v>7.780999999999999E-2</c:v>
                </c:pt>
                <c:pt idx="515">
                  <c:v>7.7660000000000007E-2</c:v>
                </c:pt>
                <c:pt idx="516">
                  <c:v>7.9710000000000003E-2</c:v>
                </c:pt>
                <c:pt idx="517">
                  <c:v>8.0519999999999994E-2</c:v>
                </c:pt>
                <c:pt idx="518">
                  <c:v>8.0509999999999998E-2</c:v>
                </c:pt>
                <c:pt idx="519">
                  <c:v>7.9960000000000003E-2</c:v>
                </c:pt>
                <c:pt idx="520">
                  <c:v>7.825E-2</c:v>
                </c:pt>
                <c:pt idx="521">
                  <c:v>7.9979999999999996E-2</c:v>
                </c:pt>
                <c:pt idx="522">
                  <c:v>8.1140000000000004E-2</c:v>
                </c:pt>
                <c:pt idx="523">
                  <c:v>8.1509999999999999E-2</c:v>
                </c:pt>
                <c:pt idx="524">
                  <c:v>8.1500000000000003E-2</c:v>
                </c:pt>
                <c:pt idx="525">
                  <c:v>8.2180000000000003E-2</c:v>
                </c:pt>
                <c:pt idx="526">
                  <c:v>8.3640000000000006E-2</c:v>
                </c:pt>
                <c:pt idx="527">
                  <c:v>8.3949999999999997E-2</c:v>
                </c:pt>
                <c:pt idx="528">
                  <c:v>8.3949999999999997E-2</c:v>
                </c:pt>
                <c:pt idx="529">
                  <c:v>8.4570000000000006E-2</c:v>
                </c:pt>
                <c:pt idx="530">
                  <c:v>8.5790000000000005E-2</c:v>
                </c:pt>
                <c:pt idx="531">
                  <c:v>8.7509999999999991E-2</c:v>
                </c:pt>
                <c:pt idx="532">
                  <c:v>8.9709999999999998E-2</c:v>
                </c:pt>
                <c:pt idx="533">
                  <c:v>8.9979999999999991E-2</c:v>
                </c:pt>
                <c:pt idx="534">
                  <c:v>8.8149999999999992E-2</c:v>
                </c:pt>
                <c:pt idx="535">
                  <c:v>8.8569999999999996E-2</c:v>
                </c:pt>
                <c:pt idx="536">
                  <c:v>8.8330000000000006E-2</c:v>
                </c:pt>
                <c:pt idx="537">
                  <c:v>8.9270000000000002E-2</c:v>
                </c:pt>
                <c:pt idx="538">
                  <c:v>8.9749999999999996E-2</c:v>
                </c:pt>
                <c:pt idx="539">
                  <c:v>9.0830000000000008E-2</c:v>
                </c:pt>
                <c:pt idx="540">
                  <c:v>8.9890000000000012E-2</c:v>
                </c:pt>
                <c:pt idx="541">
                  <c:v>8.8429999999999995E-2</c:v>
                </c:pt>
                <c:pt idx="542">
                  <c:v>8.8599999999999998E-2</c:v>
                </c:pt>
                <c:pt idx="543">
                  <c:v>8.8819999999999996E-2</c:v>
                </c:pt>
                <c:pt idx="544">
                  <c:v>8.9520000000000002E-2</c:v>
                </c:pt>
                <c:pt idx="545">
                  <c:v>8.900000000000001E-2</c:v>
                </c:pt>
                <c:pt idx="546">
                  <c:v>8.9679999999999996E-2</c:v>
                </c:pt>
                <c:pt idx="547">
                  <c:v>9.0150000000000008E-2</c:v>
                </c:pt>
                <c:pt idx="548">
                  <c:v>9.2989999999999989E-2</c:v>
                </c:pt>
                <c:pt idx="549">
                  <c:v>9.2330000000000009E-2</c:v>
                </c:pt>
                <c:pt idx="550">
                  <c:v>9.1999999999999998E-2</c:v>
                </c:pt>
                <c:pt idx="551">
                  <c:v>9.2810000000000004E-2</c:v>
                </c:pt>
                <c:pt idx="552">
                  <c:v>9.1750000000000012E-2</c:v>
                </c:pt>
                <c:pt idx="553">
                  <c:v>9.0540000000000009E-2</c:v>
                </c:pt>
                <c:pt idx="554">
                  <c:v>8.9109999999999995E-2</c:v>
                </c:pt>
                <c:pt idx="555">
                  <c:v>8.9130000000000001E-2</c:v>
                </c:pt>
                <c:pt idx="556">
                  <c:v>8.9329999999999993E-2</c:v>
                </c:pt>
                <c:pt idx="557">
                  <c:v>8.9169999999999999E-2</c:v>
                </c:pt>
                <c:pt idx="558">
                  <c:v>8.8010000000000005E-2</c:v>
                </c:pt>
                <c:pt idx="559">
                  <c:v>8.6800000000000002E-2</c:v>
                </c:pt>
                <c:pt idx="560">
                  <c:v>8.4510000000000002E-2</c:v>
                </c:pt>
                <c:pt idx="561">
                  <c:v>8.2430000000000003E-2</c:v>
                </c:pt>
                <c:pt idx="562">
                  <c:v>8.2830000000000001E-2</c:v>
                </c:pt>
                <c:pt idx="563">
                  <c:v>8.4309999999999996E-2</c:v>
                </c:pt>
                <c:pt idx="564">
                  <c:v>8.5260000000000002E-2</c:v>
                </c:pt>
                <c:pt idx="565">
                  <c:v>8.5630000000000012E-2</c:v>
                </c:pt>
                <c:pt idx="566">
                  <c:v>8.5719999999999991E-2</c:v>
                </c:pt>
                <c:pt idx="567">
                  <c:v>8.5079999999999989E-2</c:v>
                </c:pt>
                <c:pt idx="568">
                  <c:v>8.4580000000000002E-2</c:v>
                </c:pt>
                <c:pt idx="569">
                  <c:v>8.4909999999999999E-2</c:v>
                </c:pt>
                <c:pt idx="570">
                  <c:v>8.5610000000000006E-2</c:v>
                </c:pt>
                <c:pt idx="571">
                  <c:v>8.5449999999999998E-2</c:v>
                </c:pt>
                <c:pt idx="572">
                  <c:v>8.6029999999999995E-2</c:v>
                </c:pt>
                <c:pt idx="573">
                  <c:v>8.6110000000000006E-2</c:v>
                </c:pt>
                <c:pt idx="574">
                  <c:v>8.609E-2</c:v>
                </c:pt>
                <c:pt idx="575">
                  <c:v>8.5719999999999991E-2</c:v>
                </c:pt>
                <c:pt idx="576">
                  <c:v>8.5540000000000005E-2</c:v>
                </c:pt>
                <c:pt idx="577">
                  <c:v>9.0929999999999997E-2</c:v>
                </c:pt>
                <c:pt idx="578">
                  <c:v>9.1649999999999995E-2</c:v>
                </c:pt>
                <c:pt idx="579">
                  <c:v>9.017E-2</c:v>
                </c:pt>
                <c:pt idx="580">
                  <c:v>8.990999999999999E-2</c:v>
                </c:pt>
                <c:pt idx="581">
                  <c:v>8.9160000000000003E-2</c:v>
                </c:pt>
                <c:pt idx="582">
                  <c:v>8.8710000000000011E-2</c:v>
                </c:pt>
                <c:pt idx="583">
                  <c:v>8.8849999999999998E-2</c:v>
                </c:pt>
                <c:pt idx="584">
                  <c:v>8.9209999999999998E-2</c:v>
                </c:pt>
                <c:pt idx="585">
                  <c:v>8.9520000000000002E-2</c:v>
                </c:pt>
                <c:pt idx="586">
                  <c:v>9.0249999999999997E-2</c:v>
                </c:pt>
                <c:pt idx="587">
                  <c:v>9.0109999999999996E-2</c:v>
                </c:pt>
                <c:pt idx="588">
                  <c:v>8.9880000000000002E-2</c:v>
                </c:pt>
                <c:pt idx="589">
                  <c:v>9.0519999999999989E-2</c:v>
                </c:pt>
                <c:pt idx="590">
                  <c:v>9.151999999999999E-2</c:v>
                </c:pt>
                <c:pt idx="591">
                  <c:v>9.1969999999999996E-2</c:v>
                </c:pt>
                <c:pt idx="592">
                  <c:v>9.1660000000000005E-2</c:v>
                </c:pt>
                <c:pt idx="593">
                  <c:v>9.1639999999999999E-2</c:v>
                </c:pt>
                <c:pt idx="594">
                  <c:v>9.1609999999999997E-2</c:v>
                </c:pt>
                <c:pt idx="595">
                  <c:v>9.1690000000000008E-2</c:v>
                </c:pt>
                <c:pt idx="596">
                  <c:v>9.1660000000000005E-2</c:v>
                </c:pt>
                <c:pt idx="597">
                  <c:v>9.1600000000000001E-2</c:v>
                </c:pt>
                <c:pt idx="598">
                  <c:v>9.1630000000000003E-2</c:v>
                </c:pt>
                <c:pt idx="599">
                  <c:v>9.1350000000000001E-2</c:v>
                </c:pt>
                <c:pt idx="600">
                  <c:v>9.0029999999999999E-2</c:v>
                </c:pt>
                <c:pt idx="601">
                  <c:v>8.9480000000000004E-2</c:v>
                </c:pt>
                <c:pt idx="602">
                  <c:v>8.8950000000000001E-2</c:v>
                </c:pt>
                <c:pt idx="603">
                  <c:v>8.8569999999999996E-2</c:v>
                </c:pt>
                <c:pt idx="604">
                  <c:v>8.6999999999999994E-2</c:v>
                </c:pt>
                <c:pt idx="605">
                  <c:v>8.6259999999999989E-2</c:v>
                </c:pt>
                <c:pt idx="606">
                  <c:v>8.657999999999999E-2</c:v>
                </c:pt>
                <c:pt idx="607">
                  <c:v>8.6599999999999996E-2</c:v>
                </c:pt>
                <c:pt idx="608">
                  <c:v>8.6410000000000001E-2</c:v>
                </c:pt>
                <c:pt idx="609">
                  <c:v>8.5690000000000002E-2</c:v>
                </c:pt>
                <c:pt idx="610">
                  <c:v>8.5210000000000008E-2</c:v>
                </c:pt>
                <c:pt idx="611">
                  <c:v>8.4779999999999994E-2</c:v>
                </c:pt>
                <c:pt idx="612">
                  <c:v>8.5320000000000007E-2</c:v>
                </c:pt>
                <c:pt idx="613">
                  <c:v>8.5299999999999987E-2</c:v>
                </c:pt>
                <c:pt idx="614">
                  <c:v>8.5220000000000004E-2</c:v>
                </c:pt>
                <c:pt idx="615">
                  <c:v>8.5199999999999998E-2</c:v>
                </c:pt>
                <c:pt idx="616">
                  <c:v>8.5120000000000001E-2</c:v>
                </c:pt>
                <c:pt idx="617">
                  <c:v>8.5059999999999997E-2</c:v>
                </c:pt>
                <c:pt idx="618">
                  <c:v>8.5039999999999991E-2</c:v>
                </c:pt>
                <c:pt idx="619">
                  <c:v>8.4849999999999995E-2</c:v>
                </c:pt>
                <c:pt idx="620">
                  <c:v>8.5419999999999996E-2</c:v>
                </c:pt>
                <c:pt idx="621">
                  <c:v>8.6430000000000007E-2</c:v>
                </c:pt>
                <c:pt idx="622">
                  <c:v>8.6029999999999995E-2</c:v>
                </c:pt>
                <c:pt idx="623">
                  <c:v>8.5699999999999998E-2</c:v>
                </c:pt>
                <c:pt idx="624">
                  <c:v>8.5690000000000002E-2</c:v>
                </c:pt>
                <c:pt idx="625">
                  <c:v>8.7300000000000003E-2</c:v>
                </c:pt>
                <c:pt idx="626">
                  <c:v>8.7859999999999994E-2</c:v>
                </c:pt>
                <c:pt idx="627">
                  <c:v>8.7579999999999991E-2</c:v>
                </c:pt>
                <c:pt idx="628">
                  <c:v>8.6549999999999988E-2</c:v>
                </c:pt>
                <c:pt idx="629">
                  <c:v>8.5669999999999996E-2</c:v>
                </c:pt>
                <c:pt idx="630">
                  <c:v>8.3559999999999995E-2</c:v>
                </c:pt>
                <c:pt idx="631">
                  <c:v>8.3110000000000003E-2</c:v>
                </c:pt>
                <c:pt idx="632">
                  <c:v>8.2899999999999988E-2</c:v>
                </c:pt>
                <c:pt idx="633">
                  <c:v>8.1809999999999994E-2</c:v>
                </c:pt>
                <c:pt idx="634">
                  <c:v>8.0909999999999996E-2</c:v>
                </c:pt>
                <c:pt idx="635">
                  <c:v>8.1799999999999998E-2</c:v>
                </c:pt>
                <c:pt idx="636">
                  <c:v>8.1359999999999988E-2</c:v>
                </c:pt>
                <c:pt idx="637">
                  <c:v>8.1079999999999999E-2</c:v>
                </c:pt>
                <c:pt idx="638">
                  <c:v>8.134000000000001E-2</c:v>
                </c:pt>
                <c:pt idx="639">
                  <c:v>8.098000000000001E-2</c:v>
                </c:pt>
                <c:pt idx="640">
                  <c:v>8.098000000000001E-2</c:v>
                </c:pt>
                <c:pt idx="641">
                  <c:v>8.0660000000000009E-2</c:v>
                </c:pt>
                <c:pt idx="642">
                  <c:v>8.0280000000000004E-2</c:v>
                </c:pt>
                <c:pt idx="643">
                  <c:v>8.1270000000000009E-2</c:v>
                </c:pt>
                <c:pt idx="644">
                  <c:v>8.2040000000000002E-2</c:v>
                </c:pt>
                <c:pt idx="645">
                  <c:v>8.2859999999999989E-2</c:v>
                </c:pt>
                <c:pt idx="646">
                  <c:v>8.1809999999999994E-2</c:v>
                </c:pt>
                <c:pt idx="647">
                  <c:v>8.1489999999999993E-2</c:v>
                </c:pt>
                <c:pt idx="648">
                  <c:v>8.1199999999999994E-2</c:v>
                </c:pt>
                <c:pt idx="649">
                  <c:v>8.1079999999999999E-2</c:v>
                </c:pt>
                <c:pt idx="650">
                  <c:v>8.0960000000000004E-2</c:v>
                </c:pt>
                <c:pt idx="651">
                  <c:v>8.1119999999999998E-2</c:v>
                </c:pt>
                <c:pt idx="652">
                  <c:v>8.1439999999999999E-2</c:v>
                </c:pt>
                <c:pt idx="653">
                  <c:v>8.2449999999999996E-2</c:v>
                </c:pt>
                <c:pt idx="654">
                  <c:v>8.2810000000000009E-2</c:v>
                </c:pt>
                <c:pt idx="655">
                  <c:v>8.3789999999999989E-2</c:v>
                </c:pt>
                <c:pt idx="656">
                  <c:v>8.4179999999999991E-2</c:v>
                </c:pt>
                <c:pt idx="657">
                  <c:v>8.5069999999999993E-2</c:v>
                </c:pt>
                <c:pt idx="658">
                  <c:v>8.4730000000000014E-2</c:v>
                </c:pt>
                <c:pt idx="659">
                  <c:v>8.3460000000000006E-2</c:v>
                </c:pt>
                <c:pt idx="660">
                  <c:v>8.3490000000000009E-2</c:v>
                </c:pt>
                <c:pt idx="661">
                  <c:v>8.3829999999999988E-2</c:v>
                </c:pt>
                <c:pt idx="662">
                  <c:v>8.3599999999999994E-2</c:v>
                </c:pt>
                <c:pt idx="663">
                  <c:v>8.2979999999999998E-2</c:v>
                </c:pt>
                <c:pt idx="664">
                  <c:v>8.2349999999999993E-2</c:v>
                </c:pt>
                <c:pt idx="665">
                  <c:v>8.1790000000000002E-2</c:v>
                </c:pt>
                <c:pt idx="666">
                  <c:v>8.1709999999999991E-2</c:v>
                </c:pt>
                <c:pt idx="667">
                  <c:v>8.233E-2</c:v>
                </c:pt>
                <c:pt idx="668">
                  <c:v>8.3089999999999997E-2</c:v>
                </c:pt>
                <c:pt idx="669">
                  <c:v>8.3350000000000007E-2</c:v>
                </c:pt>
                <c:pt idx="670">
                  <c:v>8.3390000000000006E-2</c:v>
                </c:pt>
                <c:pt idx="671">
                  <c:v>8.3780000000000007E-2</c:v>
                </c:pt>
                <c:pt idx="672">
                  <c:v>8.4159999999999999E-2</c:v>
                </c:pt>
                <c:pt idx="673">
                  <c:v>8.4179999999999991E-2</c:v>
                </c:pt>
                <c:pt idx="674">
                  <c:v>8.3960000000000007E-2</c:v>
                </c:pt>
                <c:pt idx="675">
                  <c:v>8.4179999999999991E-2</c:v>
                </c:pt>
                <c:pt idx="676">
                  <c:v>8.4209999999999993E-2</c:v>
                </c:pt>
                <c:pt idx="677">
                  <c:v>8.410999999999999E-2</c:v>
                </c:pt>
                <c:pt idx="678">
                  <c:v>8.3819999999999992E-2</c:v>
                </c:pt>
                <c:pt idx="679">
                  <c:v>8.5089999999999999E-2</c:v>
                </c:pt>
                <c:pt idx="680">
                  <c:v>8.4760000000000002E-2</c:v>
                </c:pt>
                <c:pt idx="681">
                  <c:v>8.5690000000000002E-2</c:v>
                </c:pt>
                <c:pt idx="682">
                  <c:v>8.5900000000000004E-2</c:v>
                </c:pt>
                <c:pt idx="683">
                  <c:v>8.6279999999999996E-2</c:v>
                </c:pt>
                <c:pt idx="684">
                  <c:v>8.6510000000000004E-2</c:v>
                </c:pt>
                <c:pt idx="685">
                  <c:v>8.6259999999999989E-2</c:v>
                </c:pt>
                <c:pt idx="686">
                  <c:v>8.788E-2</c:v>
                </c:pt>
                <c:pt idx="687">
                  <c:v>8.9979999999999991E-2</c:v>
                </c:pt>
                <c:pt idx="688">
                  <c:v>9.01E-2</c:v>
                </c:pt>
                <c:pt idx="689">
                  <c:v>9.0210000000000012E-2</c:v>
                </c:pt>
                <c:pt idx="690">
                  <c:v>9.0820000000000012E-2</c:v>
                </c:pt>
                <c:pt idx="691">
                  <c:v>8.9429999999999996E-2</c:v>
                </c:pt>
                <c:pt idx="692">
                  <c:v>8.8330000000000006E-2</c:v>
                </c:pt>
                <c:pt idx="693">
                  <c:v>8.8360000000000008E-2</c:v>
                </c:pt>
                <c:pt idx="694">
                  <c:v>8.8279999999999997E-2</c:v>
                </c:pt>
                <c:pt idx="695">
                  <c:v>8.8599999999999998E-2</c:v>
                </c:pt>
                <c:pt idx="696">
                  <c:v>8.8960000000000011E-2</c:v>
                </c:pt>
                <c:pt idx="697">
                  <c:v>8.967E-2</c:v>
                </c:pt>
                <c:pt idx="698">
                  <c:v>9.0609999999999996E-2</c:v>
                </c:pt>
                <c:pt idx="699">
                  <c:v>9.0519999999999989E-2</c:v>
                </c:pt>
                <c:pt idx="700">
                  <c:v>9.0370000000000006E-2</c:v>
                </c:pt>
                <c:pt idx="701">
                  <c:v>8.9789999999999995E-2</c:v>
                </c:pt>
                <c:pt idx="702">
                  <c:v>9.0090000000000003E-2</c:v>
                </c:pt>
                <c:pt idx="703">
                  <c:v>9.017E-2</c:v>
                </c:pt>
                <c:pt idx="704">
                  <c:v>9.0229999999999991E-2</c:v>
                </c:pt>
                <c:pt idx="705">
                  <c:v>8.9890000000000012E-2</c:v>
                </c:pt>
                <c:pt idx="706">
                  <c:v>8.9329999999999993E-2</c:v>
                </c:pt>
                <c:pt idx="707">
                  <c:v>8.8340000000000002E-2</c:v>
                </c:pt>
                <c:pt idx="708">
                  <c:v>8.6809999999999998E-2</c:v>
                </c:pt>
                <c:pt idx="709">
                  <c:v>8.5440000000000002E-2</c:v>
                </c:pt>
                <c:pt idx="710">
                  <c:v>8.4920000000000009E-2</c:v>
                </c:pt>
              </c:numCache>
            </c:numRef>
          </c:val>
          <c:smooth val="0"/>
          <c:extLst>
            <c:ext xmlns:c16="http://schemas.microsoft.com/office/drawing/2014/chart" uri="{C3380CC4-5D6E-409C-BE32-E72D297353CC}">
              <c16:uniqueId val="{00000000-1676-3944-A23C-181D9DC63D66}"/>
            </c:ext>
          </c:extLst>
        </c:ser>
        <c:ser>
          <c:idx val="2"/>
          <c:order val="2"/>
          <c:tx>
            <c:strRef>
              <c:f>Hoja1!$D$1</c:f>
              <c:strCache>
                <c:ptCount val="1"/>
                <c:pt idx="0">
                  <c:v>Petrobras 5.6 31</c:v>
                </c:pt>
              </c:strCache>
            </c:strRef>
          </c:tx>
          <c:spPr>
            <a:ln w="28575" cap="rnd">
              <a:solidFill>
                <a:schemeClr val="accent3"/>
              </a:solidFill>
              <a:round/>
            </a:ln>
            <a:effectLst/>
          </c:spPr>
          <c:marker>
            <c:symbol val="none"/>
          </c:marker>
          <c:dLbls>
            <c:dLbl>
              <c:idx val="710"/>
              <c:layout>
                <c:manualLayout>
                  <c:x val="0"/>
                  <c:y val="1.6429958826781919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676-3944-A23C-181D9DC63D6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712</c:f>
              <c:numCache>
                <c:formatCode>m/d/yy</c:formatCode>
                <c:ptCount val="711"/>
                <c:pt idx="0">
                  <c:v>44200</c:v>
                </c:pt>
                <c:pt idx="1">
                  <c:v>44201</c:v>
                </c:pt>
                <c:pt idx="2">
                  <c:v>44202</c:v>
                </c:pt>
                <c:pt idx="3">
                  <c:v>44203</c:v>
                </c:pt>
                <c:pt idx="4">
                  <c:v>44204</c:v>
                </c:pt>
                <c:pt idx="5">
                  <c:v>44207</c:v>
                </c:pt>
                <c:pt idx="6">
                  <c:v>44208</c:v>
                </c:pt>
                <c:pt idx="7">
                  <c:v>44209</c:v>
                </c:pt>
                <c:pt idx="8">
                  <c:v>44210</c:v>
                </c:pt>
                <c:pt idx="9">
                  <c:v>44211</c:v>
                </c:pt>
                <c:pt idx="10">
                  <c:v>44215</c:v>
                </c:pt>
                <c:pt idx="11">
                  <c:v>44216</c:v>
                </c:pt>
                <c:pt idx="12">
                  <c:v>44217</c:v>
                </c:pt>
                <c:pt idx="13">
                  <c:v>44218</c:v>
                </c:pt>
                <c:pt idx="14">
                  <c:v>44221</c:v>
                </c:pt>
                <c:pt idx="15">
                  <c:v>44222</c:v>
                </c:pt>
                <c:pt idx="16">
                  <c:v>44223</c:v>
                </c:pt>
                <c:pt idx="17">
                  <c:v>44224</c:v>
                </c:pt>
                <c:pt idx="18">
                  <c:v>44225</c:v>
                </c:pt>
                <c:pt idx="19">
                  <c:v>44228</c:v>
                </c:pt>
                <c:pt idx="20">
                  <c:v>44229</c:v>
                </c:pt>
                <c:pt idx="21">
                  <c:v>44230</c:v>
                </c:pt>
                <c:pt idx="22">
                  <c:v>44231</c:v>
                </c:pt>
                <c:pt idx="23">
                  <c:v>44232</c:v>
                </c:pt>
                <c:pt idx="24">
                  <c:v>44235</c:v>
                </c:pt>
                <c:pt idx="25">
                  <c:v>44236</c:v>
                </c:pt>
                <c:pt idx="26">
                  <c:v>44237</c:v>
                </c:pt>
                <c:pt idx="27">
                  <c:v>44238</c:v>
                </c:pt>
                <c:pt idx="28">
                  <c:v>44239</c:v>
                </c:pt>
                <c:pt idx="29">
                  <c:v>44243</c:v>
                </c:pt>
                <c:pt idx="30">
                  <c:v>44244</c:v>
                </c:pt>
                <c:pt idx="31">
                  <c:v>44245</c:v>
                </c:pt>
                <c:pt idx="32">
                  <c:v>44246</c:v>
                </c:pt>
                <c:pt idx="33">
                  <c:v>44249</c:v>
                </c:pt>
                <c:pt idx="34">
                  <c:v>44250</c:v>
                </c:pt>
                <c:pt idx="35">
                  <c:v>44251</c:v>
                </c:pt>
                <c:pt idx="36">
                  <c:v>44252</c:v>
                </c:pt>
                <c:pt idx="37">
                  <c:v>44253</c:v>
                </c:pt>
                <c:pt idx="38">
                  <c:v>44256</c:v>
                </c:pt>
                <c:pt idx="39">
                  <c:v>44257</c:v>
                </c:pt>
                <c:pt idx="40">
                  <c:v>44258</c:v>
                </c:pt>
                <c:pt idx="41">
                  <c:v>44259</c:v>
                </c:pt>
                <c:pt idx="42">
                  <c:v>44260</c:v>
                </c:pt>
                <c:pt idx="43">
                  <c:v>44263</c:v>
                </c:pt>
                <c:pt idx="44">
                  <c:v>44264</c:v>
                </c:pt>
                <c:pt idx="45">
                  <c:v>44265</c:v>
                </c:pt>
                <c:pt idx="46">
                  <c:v>44266</c:v>
                </c:pt>
                <c:pt idx="47">
                  <c:v>44267</c:v>
                </c:pt>
                <c:pt idx="48">
                  <c:v>44270</c:v>
                </c:pt>
                <c:pt idx="49">
                  <c:v>44271</c:v>
                </c:pt>
                <c:pt idx="50">
                  <c:v>44272</c:v>
                </c:pt>
                <c:pt idx="51">
                  <c:v>44273</c:v>
                </c:pt>
                <c:pt idx="52">
                  <c:v>44274</c:v>
                </c:pt>
                <c:pt idx="53">
                  <c:v>44277</c:v>
                </c:pt>
                <c:pt idx="54">
                  <c:v>44278</c:v>
                </c:pt>
                <c:pt idx="55">
                  <c:v>44279</c:v>
                </c:pt>
                <c:pt idx="56">
                  <c:v>44280</c:v>
                </c:pt>
                <c:pt idx="57">
                  <c:v>44281</c:v>
                </c:pt>
                <c:pt idx="58">
                  <c:v>44284</c:v>
                </c:pt>
                <c:pt idx="59">
                  <c:v>44285</c:v>
                </c:pt>
                <c:pt idx="60">
                  <c:v>44286</c:v>
                </c:pt>
                <c:pt idx="61">
                  <c:v>44287</c:v>
                </c:pt>
                <c:pt idx="62">
                  <c:v>44291</c:v>
                </c:pt>
                <c:pt idx="63">
                  <c:v>44292</c:v>
                </c:pt>
                <c:pt idx="64">
                  <c:v>44293</c:v>
                </c:pt>
                <c:pt idx="65">
                  <c:v>44294</c:v>
                </c:pt>
                <c:pt idx="66">
                  <c:v>44295</c:v>
                </c:pt>
                <c:pt idx="67">
                  <c:v>44298</c:v>
                </c:pt>
                <c:pt idx="68">
                  <c:v>44299</c:v>
                </c:pt>
                <c:pt idx="69">
                  <c:v>44300</c:v>
                </c:pt>
                <c:pt idx="70">
                  <c:v>44301</c:v>
                </c:pt>
                <c:pt idx="71">
                  <c:v>44302</c:v>
                </c:pt>
                <c:pt idx="72">
                  <c:v>44305</c:v>
                </c:pt>
                <c:pt idx="73">
                  <c:v>44306</c:v>
                </c:pt>
                <c:pt idx="74">
                  <c:v>44307</c:v>
                </c:pt>
                <c:pt idx="75">
                  <c:v>44308</c:v>
                </c:pt>
                <c:pt idx="76">
                  <c:v>44309</c:v>
                </c:pt>
                <c:pt idx="77">
                  <c:v>44312</c:v>
                </c:pt>
                <c:pt idx="78">
                  <c:v>44313</c:v>
                </c:pt>
                <c:pt idx="79">
                  <c:v>44314</c:v>
                </c:pt>
                <c:pt idx="80">
                  <c:v>44315</c:v>
                </c:pt>
                <c:pt idx="81">
                  <c:v>44316</c:v>
                </c:pt>
                <c:pt idx="82">
                  <c:v>44319</c:v>
                </c:pt>
                <c:pt idx="83">
                  <c:v>44320</c:v>
                </c:pt>
                <c:pt idx="84">
                  <c:v>44321</c:v>
                </c:pt>
                <c:pt idx="85">
                  <c:v>44322</c:v>
                </c:pt>
                <c:pt idx="86">
                  <c:v>44323</c:v>
                </c:pt>
                <c:pt idx="87">
                  <c:v>44326</c:v>
                </c:pt>
                <c:pt idx="88">
                  <c:v>44327</c:v>
                </c:pt>
                <c:pt idx="89">
                  <c:v>44328</c:v>
                </c:pt>
                <c:pt idx="90">
                  <c:v>44329</c:v>
                </c:pt>
                <c:pt idx="91">
                  <c:v>44330</c:v>
                </c:pt>
                <c:pt idx="92">
                  <c:v>44333</c:v>
                </c:pt>
                <c:pt idx="93">
                  <c:v>44334</c:v>
                </c:pt>
                <c:pt idx="94">
                  <c:v>44335</c:v>
                </c:pt>
                <c:pt idx="95">
                  <c:v>44336</c:v>
                </c:pt>
                <c:pt idx="96">
                  <c:v>44337</c:v>
                </c:pt>
                <c:pt idx="97">
                  <c:v>44340</c:v>
                </c:pt>
                <c:pt idx="98">
                  <c:v>44341</c:v>
                </c:pt>
                <c:pt idx="99">
                  <c:v>44342</c:v>
                </c:pt>
                <c:pt idx="100">
                  <c:v>44343</c:v>
                </c:pt>
                <c:pt idx="101">
                  <c:v>44344</c:v>
                </c:pt>
                <c:pt idx="102">
                  <c:v>44348</c:v>
                </c:pt>
                <c:pt idx="103">
                  <c:v>44349</c:v>
                </c:pt>
                <c:pt idx="104">
                  <c:v>44350</c:v>
                </c:pt>
                <c:pt idx="105">
                  <c:v>44351</c:v>
                </c:pt>
                <c:pt idx="106">
                  <c:v>44354</c:v>
                </c:pt>
                <c:pt idx="107">
                  <c:v>44355</c:v>
                </c:pt>
                <c:pt idx="108">
                  <c:v>44356</c:v>
                </c:pt>
                <c:pt idx="109">
                  <c:v>44357</c:v>
                </c:pt>
                <c:pt idx="110">
                  <c:v>44358</c:v>
                </c:pt>
                <c:pt idx="111">
                  <c:v>44361</c:v>
                </c:pt>
                <c:pt idx="112">
                  <c:v>44362</c:v>
                </c:pt>
                <c:pt idx="113">
                  <c:v>44363</c:v>
                </c:pt>
                <c:pt idx="114">
                  <c:v>44364</c:v>
                </c:pt>
                <c:pt idx="115">
                  <c:v>44365</c:v>
                </c:pt>
                <c:pt idx="116">
                  <c:v>44368</c:v>
                </c:pt>
                <c:pt idx="117">
                  <c:v>44369</c:v>
                </c:pt>
                <c:pt idx="118">
                  <c:v>44370</c:v>
                </c:pt>
                <c:pt idx="119">
                  <c:v>44371</c:v>
                </c:pt>
                <c:pt idx="120">
                  <c:v>44372</c:v>
                </c:pt>
                <c:pt idx="121">
                  <c:v>44375</c:v>
                </c:pt>
                <c:pt idx="122">
                  <c:v>44376</c:v>
                </c:pt>
                <c:pt idx="123">
                  <c:v>44377</c:v>
                </c:pt>
                <c:pt idx="124">
                  <c:v>44378</c:v>
                </c:pt>
                <c:pt idx="125">
                  <c:v>44379</c:v>
                </c:pt>
                <c:pt idx="126">
                  <c:v>44383</c:v>
                </c:pt>
                <c:pt idx="127">
                  <c:v>44384</c:v>
                </c:pt>
                <c:pt idx="128">
                  <c:v>44385</c:v>
                </c:pt>
                <c:pt idx="129">
                  <c:v>44386</c:v>
                </c:pt>
                <c:pt idx="130">
                  <c:v>44389</c:v>
                </c:pt>
                <c:pt idx="131">
                  <c:v>44390</c:v>
                </c:pt>
                <c:pt idx="132">
                  <c:v>44391</c:v>
                </c:pt>
                <c:pt idx="133">
                  <c:v>44392</c:v>
                </c:pt>
                <c:pt idx="134">
                  <c:v>44393</c:v>
                </c:pt>
                <c:pt idx="135">
                  <c:v>44396</c:v>
                </c:pt>
                <c:pt idx="136">
                  <c:v>44397</c:v>
                </c:pt>
                <c:pt idx="137">
                  <c:v>44398</c:v>
                </c:pt>
                <c:pt idx="138">
                  <c:v>44399</c:v>
                </c:pt>
                <c:pt idx="139">
                  <c:v>44400</c:v>
                </c:pt>
                <c:pt idx="140">
                  <c:v>44403</c:v>
                </c:pt>
                <c:pt idx="141">
                  <c:v>44404</c:v>
                </c:pt>
                <c:pt idx="142">
                  <c:v>44405</c:v>
                </c:pt>
                <c:pt idx="143">
                  <c:v>44406</c:v>
                </c:pt>
                <c:pt idx="144">
                  <c:v>44407</c:v>
                </c:pt>
                <c:pt idx="145">
                  <c:v>44410</c:v>
                </c:pt>
                <c:pt idx="146">
                  <c:v>44411</c:v>
                </c:pt>
                <c:pt idx="147">
                  <c:v>44412</c:v>
                </c:pt>
                <c:pt idx="148">
                  <c:v>44413</c:v>
                </c:pt>
                <c:pt idx="149">
                  <c:v>44414</c:v>
                </c:pt>
                <c:pt idx="150">
                  <c:v>44417</c:v>
                </c:pt>
                <c:pt idx="151">
                  <c:v>44418</c:v>
                </c:pt>
                <c:pt idx="152">
                  <c:v>44419</c:v>
                </c:pt>
                <c:pt idx="153">
                  <c:v>44420</c:v>
                </c:pt>
                <c:pt idx="154">
                  <c:v>44421</c:v>
                </c:pt>
                <c:pt idx="155">
                  <c:v>44424</c:v>
                </c:pt>
                <c:pt idx="156">
                  <c:v>44425</c:v>
                </c:pt>
                <c:pt idx="157">
                  <c:v>44426</c:v>
                </c:pt>
                <c:pt idx="158">
                  <c:v>44427</c:v>
                </c:pt>
                <c:pt idx="159">
                  <c:v>44428</c:v>
                </c:pt>
                <c:pt idx="160">
                  <c:v>44431</c:v>
                </c:pt>
                <c:pt idx="161">
                  <c:v>44432</c:v>
                </c:pt>
                <c:pt idx="162">
                  <c:v>44433</c:v>
                </c:pt>
                <c:pt idx="163">
                  <c:v>44434</c:v>
                </c:pt>
                <c:pt idx="164">
                  <c:v>44435</c:v>
                </c:pt>
                <c:pt idx="165">
                  <c:v>44438</c:v>
                </c:pt>
                <c:pt idx="166">
                  <c:v>44439</c:v>
                </c:pt>
                <c:pt idx="167">
                  <c:v>44440</c:v>
                </c:pt>
                <c:pt idx="168">
                  <c:v>44441</c:v>
                </c:pt>
                <c:pt idx="169">
                  <c:v>44442</c:v>
                </c:pt>
                <c:pt idx="170">
                  <c:v>44446</c:v>
                </c:pt>
                <c:pt idx="171">
                  <c:v>44447</c:v>
                </c:pt>
                <c:pt idx="172">
                  <c:v>44448</c:v>
                </c:pt>
                <c:pt idx="173">
                  <c:v>44449</c:v>
                </c:pt>
                <c:pt idx="174">
                  <c:v>44452</c:v>
                </c:pt>
                <c:pt idx="175">
                  <c:v>44453</c:v>
                </c:pt>
                <c:pt idx="176">
                  <c:v>44454</c:v>
                </c:pt>
                <c:pt idx="177">
                  <c:v>44455</c:v>
                </c:pt>
                <c:pt idx="178">
                  <c:v>44456</c:v>
                </c:pt>
                <c:pt idx="179">
                  <c:v>44459</c:v>
                </c:pt>
                <c:pt idx="180">
                  <c:v>44460</c:v>
                </c:pt>
                <c:pt idx="181">
                  <c:v>44461</c:v>
                </c:pt>
                <c:pt idx="182">
                  <c:v>44462</c:v>
                </c:pt>
                <c:pt idx="183">
                  <c:v>44463</c:v>
                </c:pt>
                <c:pt idx="184">
                  <c:v>44466</c:v>
                </c:pt>
                <c:pt idx="185">
                  <c:v>44467</c:v>
                </c:pt>
                <c:pt idx="186">
                  <c:v>44468</c:v>
                </c:pt>
                <c:pt idx="187">
                  <c:v>44469</c:v>
                </c:pt>
                <c:pt idx="188">
                  <c:v>44470</c:v>
                </c:pt>
                <c:pt idx="189">
                  <c:v>44473</c:v>
                </c:pt>
                <c:pt idx="190">
                  <c:v>44474</c:v>
                </c:pt>
                <c:pt idx="191">
                  <c:v>44475</c:v>
                </c:pt>
                <c:pt idx="192">
                  <c:v>44476</c:v>
                </c:pt>
                <c:pt idx="193">
                  <c:v>44477</c:v>
                </c:pt>
                <c:pt idx="194">
                  <c:v>44481</c:v>
                </c:pt>
                <c:pt idx="195">
                  <c:v>44482</c:v>
                </c:pt>
                <c:pt idx="196">
                  <c:v>44483</c:v>
                </c:pt>
                <c:pt idx="197">
                  <c:v>44484</c:v>
                </c:pt>
                <c:pt idx="198">
                  <c:v>44487</c:v>
                </c:pt>
                <c:pt idx="199">
                  <c:v>44488</c:v>
                </c:pt>
                <c:pt idx="200">
                  <c:v>44489</c:v>
                </c:pt>
                <c:pt idx="201">
                  <c:v>44490</c:v>
                </c:pt>
                <c:pt idx="202">
                  <c:v>44491</c:v>
                </c:pt>
                <c:pt idx="203">
                  <c:v>44494</c:v>
                </c:pt>
                <c:pt idx="204">
                  <c:v>44495</c:v>
                </c:pt>
                <c:pt idx="205">
                  <c:v>44496</c:v>
                </c:pt>
                <c:pt idx="206">
                  <c:v>44497</c:v>
                </c:pt>
                <c:pt idx="207">
                  <c:v>44498</c:v>
                </c:pt>
                <c:pt idx="208">
                  <c:v>44501</c:v>
                </c:pt>
                <c:pt idx="209">
                  <c:v>44502</c:v>
                </c:pt>
                <c:pt idx="210">
                  <c:v>44503</c:v>
                </c:pt>
                <c:pt idx="211">
                  <c:v>44504</c:v>
                </c:pt>
                <c:pt idx="212">
                  <c:v>44505</c:v>
                </c:pt>
                <c:pt idx="213">
                  <c:v>44508</c:v>
                </c:pt>
                <c:pt idx="214">
                  <c:v>44509</c:v>
                </c:pt>
                <c:pt idx="215">
                  <c:v>44510</c:v>
                </c:pt>
                <c:pt idx="216">
                  <c:v>44512</c:v>
                </c:pt>
                <c:pt idx="217">
                  <c:v>44515</c:v>
                </c:pt>
                <c:pt idx="218">
                  <c:v>44516</c:v>
                </c:pt>
                <c:pt idx="219">
                  <c:v>44517</c:v>
                </c:pt>
                <c:pt idx="220">
                  <c:v>44518</c:v>
                </c:pt>
                <c:pt idx="221">
                  <c:v>44519</c:v>
                </c:pt>
                <c:pt idx="222">
                  <c:v>44522</c:v>
                </c:pt>
                <c:pt idx="223">
                  <c:v>44523</c:v>
                </c:pt>
                <c:pt idx="224">
                  <c:v>44524</c:v>
                </c:pt>
                <c:pt idx="225">
                  <c:v>44526</c:v>
                </c:pt>
                <c:pt idx="226">
                  <c:v>44529</c:v>
                </c:pt>
                <c:pt idx="227">
                  <c:v>44530</c:v>
                </c:pt>
                <c:pt idx="228">
                  <c:v>44531</c:v>
                </c:pt>
                <c:pt idx="229">
                  <c:v>44532</c:v>
                </c:pt>
                <c:pt idx="230">
                  <c:v>44533</c:v>
                </c:pt>
                <c:pt idx="231">
                  <c:v>44536</c:v>
                </c:pt>
                <c:pt idx="232">
                  <c:v>44537</c:v>
                </c:pt>
                <c:pt idx="233">
                  <c:v>44538</c:v>
                </c:pt>
                <c:pt idx="234">
                  <c:v>44539</c:v>
                </c:pt>
                <c:pt idx="235">
                  <c:v>44540</c:v>
                </c:pt>
                <c:pt idx="236">
                  <c:v>44543</c:v>
                </c:pt>
                <c:pt idx="237">
                  <c:v>44544</c:v>
                </c:pt>
                <c:pt idx="238">
                  <c:v>44545</c:v>
                </c:pt>
                <c:pt idx="239">
                  <c:v>44546</c:v>
                </c:pt>
                <c:pt idx="240">
                  <c:v>44547</c:v>
                </c:pt>
                <c:pt idx="241">
                  <c:v>44550</c:v>
                </c:pt>
                <c:pt idx="242">
                  <c:v>44551</c:v>
                </c:pt>
                <c:pt idx="243">
                  <c:v>44552</c:v>
                </c:pt>
                <c:pt idx="244">
                  <c:v>44553</c:v>
                </c:pt>
                <c:pt idx="245">
                  <c:v>44557</c:v>
                </c:pt>
                <c:pt idx="246">
                  <c:v>44558</c:v>
                </c:pt>
                <c:pt idx="247">
                  <c:v>44559</c:v>
                </c:pt>
                <c:pt idx="248">
                  <c:v>44560</c:v>
                </c:pt>
                <c:pt idx="249">
                  <c:v>44561</c:v>
                </c:pt>
                <c:pt idx="250">
                  <c:v>44564</c:v>
                </c:pt>
                <c:pt idx="251">
                  <c:v>44565</c:v>
                </c:pt>
                <c:pt idx="252">
                  <c:v>44566</c:v>
                </c:pt>
                <c:pt idx="253">
                  <c:v>44567</c:v>
                </c:pt>
                <c:pt idx="254">
                  <c:v>44568</c:v>
                </c:pt>
                <c:pt idx="255">
                  <c:v>44571</c:v>
                </c:pt>
                <c:pt idx="256">
                  <c:v>44572</c:v>
                </c:pt>
                <c:pt idx="257">
                  <c:v>44573</c:v>
                </c:pt>
                <c:pt idx="258">
                  <c:v>44574</c:v>
                </c:pt>
                <c:pt idx="259">
                  <c:v>44575</c:v>
                </c:pt>
                <c:pt idx="260">
                  <c:v>44579</c:v>
                </c:pt>
                <c:pt idx="261">
                  <c:v>44580</c:v>
                </c:pt>
                <c:pt idx="262">
                  <c:v>44581</c:v>
                </c:pt>
                <c:pt idx="263">
                  <c:v>44582</c:v>
                </c:pt>
                <c:pt idx="264">
                  <c:v>44585</c:v>
                </c:pt>
                <c:pt idx="265">
                  <c:v>44586</c:v>
                </c:pt>
                <c:pt idx="266">
                  <c:v>44587</c:v>
                </c:pt>
                <c:pt idx="267">
                  <c:v>44588</c:v>
                </c:pt>
                <c:pt idx="268">
                  <c:v>44589</c:v>
                </c:pt>
                <c:pt idx="269">
                  <c:v>44592</c:v>
                </c:pt>
                <c:pt idx="270">
                  <c:v>44593</c:v>
                </c:pt>
                <c:pt idx="271">
                  <c:v>44594</c:v>
                </c:pt>
                <c:pt idx="272">
                  <c:v>44595</c:v>
                </c:pt>
                <c:pt idx="273">
                  <c:v>44596</c:v>
                </c:pt>
                <c:pt idx="274">
                  <c:v>44599</c:v>
                </c:pt>
                <c:pt idx="275">
                  <c:v>44600</c:v>
                </c:pt>
                <c:pt idx="276">
                  <c:v>44601</c:v>
                </c:pt>
                <c:pt idx="277">
                  <c:v>44602</c:v>
                </c:pt>
                <c:pt idx="278">
                  <c:v>44603</c:v>
                </c:pt>
                <c:pt idx="279">
                  <c:v>44606</c:v>
                </c:pt>
                <c:pt idx="280">
                  <c:v>44607</c:v>
                </c:pt>
                <c:pt idx="281">
                  <c:v>44608</c:v>
                </c:pt>
                <c:pt idx="282">
                  <c:v>44609</c:v>
                </c:pt>
                <c:pt idx="283">
                  <c:v>44610</c:v>
                </c:pt>
                <c:pt idx="284">
                  <c:v>44614</c:v>
                </c:pt>
                <c:pt idx="285">
                  <c:v>44615</c:v>
                </c:pt>
                <c:pt idx="286">
                  <c:v>44616</c:v>
                </c:pt>
                <c:pt idx="287">
                  <c:v>44617</c:v>
                </c:pt>
                <c:pt idx="288">
                  <c:v>44620</c:v>
                </c:pt>
                <c:pt idx="289">
                  <c:v>44621</c:v>
                </c:pt>
                <c:pt idx="290">
                  <c:v>44622</c:v>
                </c:pt>
                <c:pt idx="291">
                  <c:v>44623</c:v>
                </c:pt>
                <c:pt idx="292">
                  <c:v>44624</c:v>
                </c:pt>
                <c:pt idx="293">
                  <c:v>44627</c:v>
                </c:pt>
                <c:pt idx="294">
                  <c:v>44628</c:v>
                </c:pt>
                <c:pt idx="295">
                  <c:v>44629</c:v>
                </c:pt>
                <c:pt idx="296">
                  <c:v>44630</c:v>
                </c:pt>
                <c:pt idx="297">
                  <c:v>44631</c:v>
                </c:pt>
                <c:pt idx="298">
                  <c:v>44634</c:v>
                </c:pt>
                <c:pt idx="299">
                  <c:v>44635</c:v>
                </c:pt>
                <c:pt idx="300">
                  <c:v>44636</c:v>
                </c:pt>
                <c:pt idx="301">
                  <c:v>44637</c:v>
                </c:pt>
                <c:pt idx="302">
                  <c:v>44638</c:v>
                </c:pt>
                <c:pt idx="303">
                  <c:v>44641</c:v>
                </c:pt>
                <c:pt idx="304">
                  <c:v>44642</c:v>
                </c:pt>
                <c:pt idx="305">
                  <c:v>44643</c:v>
                </c:pt>
                <c:pt idx="306">
                  <c:v>44644</c:v>
                </c:pt>
                <c:pt idx="307">
                  <c:v>44645</c:v>
                </c:pt>
                <c:pt idx="308">
                  <c:v>44648</c:v>
                </c:pt>
                <c:pt idx="309">
                  <c:v>44649</c:v>
                </c:pt>
                <c:pt idx="310">
                  <c:v>44650</c:v>
                </c:pt>
                <c:pt idx="311">
                  <c:v>44651</c:v>
                </c:pt>
                <c:pt idx="312">
                  <c:v>44652</c:v>
                </c:pt>
                <c:pt idx="313">
                  <c:v>44655</c:v>
                </c:pt>
                <c:pt idx="314">
                  <c:v>44656</c:v>
                </c:pt>
                <c:pt idx="315">
                  <c:v>44657</c:v>
                </c:pt>
                <c:pt idx="316">
                  <c:v>44658</c:v>
                </c:pt>
                <c:pt idx="317">
                  <c:v>44659</c:v>
                </c:pt>
                <c:pt idx="318">
                  <c:v>44662</c:v>
                </c:pt>
                <c:pt idx="319">
                  <c:v>44663</c:v>
                </c:pt>
                <c:pt idx="320">
                  <c:v>44664</c:v>
                </c:pt>
                <c:pt idx="321">
                  <c:v>44665</c:v>
                </c:pt>
                <c:pt idx="322">
                  <c:v>44669</c:v>
                </c:pt>
                <c:pt idx="323">
                  <c:v>44670</c:v>
                </c:pt>
                <c:pt idx="324">
                  <c:v>44671</c:v>
                </c:pt>
                <c:pt idx="325">
                  <c:v>44672</c:v>
                </c:pt>
                <c:pt idx="326">
                  <c:v>44673</c:v>
                </c:pt>
                <c:pt idx="327">
                  <c:v>44676</c:v>
                </c:pt>
                <c:pt idx="328">
                  <c:v>44677</c:v>
                </c:pt>
                <c:pt idx="329">
                  <c:v>44678</c:v>
                </c:pt>
                <c:pt idx="330">
                  <c:v>44679</c:v>
                </c:pt>
                <c:pt idx="331">
                  <c:v>44680</c:v>
                </c:pt>
                <c:pt idx="332">
                  <c:v>44683</c:v>
                </c:pt>
                <c:pt idx="333">
                  <c:v>44684</c:v>
                </c:pt>
                <c:pt idx="334">
                  <c:v>44685</c:v>
                </c:pt>
                <c:pt idx="335">
                  <c:v>44686</c:v>
                </c:pt>
                <c:pt idx="336">
                  <c:v>44687</c:v>
                </c:pt>
                <c:pt idx="337">
                  <c:v>44690</c:v>
                </c:pt>
                <c:pt idx="338">
                  <c:v>44691</c:v>
                </c:pt>
                <c:pt idx="339">
                  <c:v>44692</c:v>
                </c:pt>
                <c:pt idx="340">
                  <c:v>44693</c:v>
                </c:pt>
                <c:pt idx="341">
                  <c:v>44694</c:v>
                </c:pt>
                <c:pt idx="342">
                  <c:v>44697</c:v>
                </c:pt>
                <c:pt idx="343">
                  <c:v>44698</c:v>
                </c:pt>
                <c:pt idx="344">
                  <c:v>44699</c:v>
                </c:pt>
                <c:pt idx="345">
                  <c:v>44700</c:v>
                </c:pt>
                <c:pt idx="346">
                  <c:v>44701</c:v>
                </c:pt>
                <c:pt idx="347">
                  <c:v>44704</c:v>
                </c:pt>
                <c:pt idx="348">
                  <c:v>44705</c:v>
                </c:pt>
                <c:pt idx="349">
                  <c:v>44706</c:v>
                </c:pt>
                <c:pt idx="350">
                  <c:v>44707</c:v>
                </c:pt>
                <c:pt idx="351">
                  <c:v>44708</c:v>
                </c:pt>
                <c:pt idx="352">
                  <c:v>44712</c:v>
                </c:pt>
                <c:pt idx="353">
                  <c:v>44713</c:v>
                </c:pt>
                <c:pt idx="354">
                  <c:v>44714</c:v>
                </c:pt>
                <c:pt idx="355">
                  <c:v>44715</c:v>
                </c:pt>
                <c:pt idx="356">
                  <c:v>44718</c:v>
                </c:pt>
                <c:pt idx="357">
                  <c:v>44719</c:v>
                </c:pt>
                <c:pt idx="358">
                  <c:v>44720</c:v>
                </c:pt>
                <c:pt idx="359">
                  <c:v>44721</c:v>
                </c:pt>
                <c:pt idx="360">
                  <c:v>44722</c:v>
                </c:pt>
                <c:pt idx="361">
                  <c:v>44725</c:v>
                </c:pt>
                <c:pt idx="362">
                  <c:v>44726</c:v>
                </c:pt>
                <c:pt idx="363">
                  <c:v>44727</c:v>
                </c:pt>
                <c:pt idx="364">
                  <c:v>44728</c:v>
                </c:pt>
                <c:pt idx="365">
                  <c:v>44729</c:v>
                </c:pt>
                <c:pt idx="366">
                  <c:v>44733</c:v>
                </c:pt>
                <c:pt idx="367">
                  <c:v>44734</c:v>
                </c:pt>
                <c:pt idx="368">
                  <c:v>44735</c:v>
                </c:pt>
                <c:pt idx="369">
                  <c:v>44736</c:v>
                </c:pt>
                <c:pt idx="370">
                  <c:v>44739</c:v>
                </c:pt>
                <c:pt idx="371">
                  <c:v>44740</c:v>
                </c:pt>
                <c:pt idx="372">
                  <c:v>44741</c:v>
                </c:pt>
                <c:pt idx="373">
                  <c:v>44742</c:v>
                </c:pt>
                <c:pt idx="374">
                  <c:v>44743</c:v>
                </c:pt>
                <c:pt idx="375">
                  <c:v>44747</c:v>
                </c:pt>
                <c:pt idx="376">
                  <c:v>44748</c:v>
                </c:pt>
                <c:pt idx="377">
                  <c:v>44749</c:v>
                </c:pt>
                <c:pt idx="378">
                  <c:v>44750</c:v>
                </c:pt>
                <c:pt idx="379">
                  <c:v>44753</c:v>
                </c:pt>
                <c:pt idx="380">
                  <c:v>44754</c:v>
                </c:pt>
                <c:pt idx="381">
                  <c:v>44755</c:v>
                </c:pt>
                <c:pt idx="382">
                  <c:v>44756</c:v>
                </c:pt>
                <c:pt idx="383">
                  <c:v>44757</c:v>
                </c:pt>
                <c:pt idx="384">
                  <c:v>44760</c:v>
                </c:pt>
                <c:pt idx="385">
                  <c:v>44761</c:v>
                </c:pt>
                <c:pt idx="386">
                  <c:v>44762</c:v>
                </c:pt>
                <c:pt idx="387">
                  <c:v>44763</c:v>
                </c:pt>
                <c:pt idx="388">
                  <c:v>44764</c:v>
                </c:pt>
                <c:pt idx="389">
                  <c:v>44767</c:v>
                </c:pt>
                <c:pt idx="390">
                  <c:v>44768</c:v>
                </c:pt>
                <c:pt idx="391">
                  <c:v>44769</c:v>
                </c:pt>
                <c:pt idx="392">
                  <c:v>44770</c:v>
                </c:pt>
                <c:pt idx="393">
                  <c:v>44771</c:v>
                </c:pt>
                <c:pt idx="394">
                  <c:v>44774</c:v>
                </c:pt>
                <c:pt idx="395">
                  <c:v>44775</c:v>
                </c:pt>
                <c:pt idx="396">
                  <c:v>44776</c:v>
                </c:pt>
                <c:pt idx="397">
                  <c:v>44777</c:v>
                </c:pt>
                <c:pt idx="398">
                  <c:v>44778</c:v>
                </c:pt>
                <c:pt idx="399">
                  <c:v>44781</c:v>
                </c:pt>
                <c:pt idx="400">
                  <c:v>44782</c:v>
                </c:pt>
                <c:pt idx="401">
                  <c:v>44783</c:v>
                </c:pt>
                <c:pt idx="402">
                  <c:v>44784</c:v>
                </c:pt>
                <c:pt idx="403">
                  <c:v>44785</c:v>
                </c:pt>
                <c:pt idx="404">
                  <c:v>44788</c:v>
                </c:pt>
                <c:pt idx="405">
                  <c:v>44789</c:v>
                </c:pt>
                <c:pt idx="406">
                  <c:v>44790</c:v>
                </c:pt>
                <c:pt idx="407">
                  <c:v>44791</c:v>
                </c:pt>
                <c:pt idx="408">
                  <c:v>44792</c:v>
                </c:pt>
                <c:pt idx="409">
                  <c:v>44795</c:v>
                </c:pt>
                <c:pt idx="410">
                  <c:v>44796</c:v>
                </c:pt>
                <c:pt idx="411">
                  <c:v>44797</c:v>
                </c:pt>
                <c:pt idx="412">
                  <c:v>44798</c:v>
                </c:pt>
                <c:pt idx="413">
                  <c:v>44799</c:v>
                </c:pt>
                <c:pt idx="414">
                  <c:v>44802</c:v>
                </c:pt>
                <c:pt idx="415">
                  <c:v>44803</c:v>
                </c:pt>
                <c:pt idx="416">
                  <c:v>44804</c:v>
                </c:pt>
                <c:pt idx="417">
                  <c:v>44805</c:v>
                </c:pt>
                <c:pt idx="418">
                  <c:v>44806</c:v>
                </c:pt>
                <c:pt idx="419">
                  <c:v>44810</c:v>
                </c:pt>
                <c:pt idx="420">
                  <c:v>44811</c:v>
                </c:pt>
                <c:pt idx="421">
                  <c:v>44812</c:v>
                </c:pt>
                <c:pt idx="422">
                  <c:v>44813</c:v>
                </c:pt>
                <c:pt idx="423">
                  <c:v>44816</c:v>
                </c:pt>
                <c:pt idx="424">
                  <c:v>44817</c:v>
                </c:pt>
                <c:pt idx="425">
                  <c:v>44818</c:v>
                </c:pt>
                <c:pt idx="426">
                  <c:v>44819</c:v>
                </c:pt>
                <c:pt idx="427">
                  <c:v>44820</c:v>
                </c:pt>
                <c:pt idx="428">
                  <c:v>44823</c:v>
                </c:pt>
                <c:pt idx="429">
                  <c:v>44824</c:v>
                </c:pt>
                <c:pt idx="430">
                  <c:v>44825</c:v>
                </c:pt>
                <c:pt idx="431">
                  <c:v>44826</c:v>
                </c:pt>
                <c:pt idx="432">
                  <c:v>44827</c:v>
                </c:pt>
                <c:pt idx="433">
                  <c:v>44830</c:v>
                </c:pt>
                <c:pt idx="434">
                  <c:v>44831</c:v>
                </c:pt>
                <c:pt idx="435">
                  <c:v>44832</c:v>
                </c:pt>
                <c:pt idx="436">
                  <c:v>44833</c:v>
                </c:pt>
                <c:pt idx="437">
                  <c:v>44834</c:v>
                </c:pt>
                <c:pt idx="438">
                  <c:v>44837</c:v>
                </c:pt>
                <c:pt idx="439">
                  <c:v>44838</c:v>
                </c:pt>
                <c:pt idx="440">
                  <c:v>44839</c:v>
                </c:pt>
                <c:pt idx="441">
                  <c:v>44840</c:v>
                </c:pt>
                <c:pt idx="442">
                  <c:v>44841</c:v>
                </c:pt>
                <c:pt idx="443">
                  <c:v>44845</c:v>
                </c:pt>
                <c:pt idx="444">
                  <c:v>44846</c:v>
                </c:pt>
                <c:pt idx="445">
                  <c:v>44847</c:v>
                </c:pt>
                <c:pt idx="446">
                  <c:v>44848</c:v>
                </c:pt>
                <c:pt idx="447">
                  <c:v>44851</c:v>
                </c:pt>
                <c:pt idx="448">
                  <c:v>44852</c:v>
                </c:pt>
                <c:pt idx="449">
                  <c:v>44853</c:v>
                </c:pt>
                <c:pt idx="450">
                  <c:v>44854</c:v>
                </c:pt>
                <c:pt idx="451">
                  <c:v>44855</c:v>
                </c:pt>
                <c:pt idx="452">
                  <c:v>44858</c:v>
                </c:pt>
                <c:pt idx="453">
                  <c:v>44859</c:v>
                </c:pt>
                <c:pt idx="454">
                  <c:v>44860</c:v>
                </c:pt>
                <c:pt idx="455">
                  <c:v>44861</c:v>
                </c:pt>
                <c:pt idx="456">
                  <c:v>44862</c:v>
                </c:pt>
                <c:pt idx="457">
                  <c:v>44865</c:v>
                </c:pt>
                <c:pt idx="458">
                  <c:v>44866</c:v>
                </c:pt>
                <c:pt idx="459">
                  <c:v>44867</c:v>
                </c:pt>
                <c:pt idx="460">
                  <c:v>44868</c:v>
                </c:pt>
                <c:pt idx="461">
                  <c:v>44869</c:v>
                </c:pt>
                <c:pt idx="462">
                  <c:v>44872</c:v>
                </c:pt>
                <c:pt idx="463">
                  <c:v>44873</c:v>
                </c:pt>
                <c:pt idx="464">
                  <c:v>44874</c:v>
                </c:pt>
                <c:pt idx="465">
                  <c:v>44875</c:v>
                </c:pt>
                <c:pt idx="466">
                  <c:v>44879</c:v>
                </c:pt>
                <c:pt idx="467">
                  <c:v>44880</c:v>
                </c:pt>
                <c:pt idx="468">
                  <c:v>44881</c:v>
                </c:pt>
                <c:pt idx="469">
                  <c:v>44882</c:v>
                </c:pt>
                <c:pt idx="470">
                  <c:v>44883</c:v>
                </c:pt>
                <c:pt idx="471">
                  <c:v>44886</c:v>
                </c:pt>
                <c:pt idx="472">
                  <c:v>44887</c:v>
                </c:pt>
                <c:pt idx="473">
                  <c:v>44888</c:v>
                </c:pt>
                <c:pt idx="474">
                  <c:v>44890</c:v>
                </c:pt>
                <c:pt idx="475">
                  <c:v>44893</c:v>
                </c:pt>
                <c:pt idx="476">
                  <c:v>44894</c:v>
                </c:pt>
                <c:pt idx="477">
                  <c:v>44895</c:v>
                </c:pt>
                <c:pt idx="478">
                  <c:v>44896</c:v>
                </c:pt>
                <c:pt idx="479">
                  <c:v>44897</c:v>
                </c:pt>
                <c:pt idx="480">
                  <c:v>44900</c:v>
                </c:pt>
                <c:pt idx="481">
                  <c:v>44901</c:v>
                </c:pt>
                <c:pt idx="482">
                  <c:v>44902</c:v>
                </c:pt>
                <c:pt idx="483">
                  <c:v>44903</c:v>
                </c:pt>
                <c:pt idx="484">
                  <c:v>44904</c:v>
                </c:pt>
                <c:pt idx="485">
                  <c:v>44907</c:v>
                </c:pt>
                <c:pt idx="486">
                  <c:v>44908</c:v>
                </c:pt>
                <c:pt idx="487">
                  <c:v>44909</c:v>
                </c:pt>
                <c:pt idx="488">
                  <c:v>44910</c:v>
                </c:pt>
                <c:pt idx="489">
                  <c:v>44911</c:v>
                </c:pt>
                <c:pt idx="490">
                  <c:v>44914</c:v>
                </c:pt>
                <c:pt idx="491">
                  <c:v>44915</c:v>
                </c:pt>
                <c:pt idx="492">
                  <c:v>44916</c:v>
                </c:pt>
                <c:pt idx="493">
                  <c:v>44917</c:v>
                </c:pt>
                <c:pt idx="494">
                  <c:v>44918</c:v>
                </c:pt>
                <c:pt idx="495">
                  <c:v>44922</c:v>
                </c:pt>
                <c:pt idx="496">
                  <c:v>44923</c:v>
                </c:pt>
                <c:pt idx="497">
                  <c:v>44924</c:v>
                </c:pt>
                <c:pt idx="498">
                  <c:v>44925</c:v>
                </c:pt>
                <c:pt idx="499">
                  <c:v>44929</c:v>
                </c:pt>
                <c:pt idx="500">
                  <c:v>44930</c:v>
                </c:pt>
                <c:pt idx="501">
                  <c:v>44931</c:v>
                </c:pt>
                <c:pt idx="502">
                  <c:v>44932</c:v>
                </c:pt>
                <c:pt idx="503">
                  <c:v>44935</c:v>
                </c:pt>
                <c:pt idx="504">
                  <c:v>44936</c:v>
                </c:pt>
                <c:pt idx="505">
                  <c:v>44937</c:v>
                </c:pt>
                <c:pt idx="506">
                  <c:v>44938</c:v>
                </c:pt>
                <c:pt idx="507">
                  <c:v>44939</c:v>
                </c:pt>
                <c:pt idx="508">
                  <c:v>44943</c:v>
                </c:pt>
                <c:pt idx="509">
                  <c:v>44944</c:v>
                </c:pt>
                <c:pt idx="510">
                  <c:v>44945</c:v>
                </c:pt>
                <c:pt idx="511">
                  <c:v>44946</c:v>
                </c:pt>
                <c:pt idx="512">
                  <c:v>44949</c:v>
                </c:pt>
                <c:pt idx="513">
                  <c:v>44950</c:v>
                </c:pt>
                <c:pt idx="514">
                  <c:v>44951</c:v>
                </c:pt>
                <c:pt idx="515">
                  <c:v>44952</c:v>
                </c:pt>
                <c:pt idx="516">
                  <c:v>44953</c:v>
                </c:pt>
                <c:pt idx="517">
                  <c:v>44956</c:v>
                </c:pt>
                <c:pt idx="518">
                  <c:v>44957</c:v>
                </c:pt>
                <c:pt idx="519">
                  <c:v>44958</c:v>
                </c:pt>
                <c:pt idx="520">
                  <c:v>44959</c:v>
                </c:pt>
                <c:pt idx="521">
                  <c:v>44960</c:v>
                </c:pt>
                <c:pt idx="522">
                  <c:v>44963</c:v>
                </c:pt>
                <c:pt idx="523">
                  <c:v>44964</c:v>
                </c:pt>
                <c:pt idx="524">
                  <c:v>44965</c:v>
                </c:pt>
                <c:pt idx="525">
                  <c:v>44966</c:v>
                </c:pt>
                <c:pt idx="526">
                  <c:v>44967</c:v>
                </c:pt>
                <c:pt idx="527">
                  <c:v>44970</c:v>
                </c:pt>
                <c:pt idx="528">
                  <c:v>44971</c:v>
                </c:pt>
                <c:pt idx="529">
                  <c:v>44972</c:v>
                </c:pt>
                <c:pt idx="530">
                  <c:v>44973</c:v>
                </c:pt>
                <c:pt idx="531">
                  <c:v>44974</c:v>
                </c:pt>
                <c:pt idx="532">
                  <c:v>44978</c:v>
                </c:pt>
                <c:pt idx="533">
                  <c:v>44979</c:v>
                </c:pt>
                <c:pt idx="534">
                  <c:v>44980</c:v>
                </c:pt>
                <c:pt idx="535">
                  <c:v>44981</c:v>
                </c:pt>
                <c:pt idx="536">
                  <c:v>44984</c:v>
                </c:pt>
                <c:pt idx="537">
                  <c:v>44985</c:v>
                </c:pt>
                <c:pt idx="538">
                  <c:v>44986</c:v>
                </c:pt>
                <c:pt idx="539">
                  <c:v>44987</c:v>
                </c:pt>
                <c:pt idx="540">
                  <c:v>44988</c:v>
                </c:pt>
                <c:pt idx="541">
                  <c:v>44991</c:v>
                </c:pt>
                <c:pt idx="542">
                  <c:v>44992</c:v>
                </c:pt>
                <c:pt idx="543">
                  <c:v>44993</c:v>
                </c:pt>
                <c:pt idx="544">
                  <c:v>44994</c:v>
                </c:pt>
                <c:pt idx="545">
                  <c:v>44995</c:v>
                </c:pt>
                <c:pt idx="546">
                  <c:v>44998</c:v>
                </c:pt>
                <c:pt idx="547">
                  <c:v>44999</c:v>
                </c:pt>
                <c:pt idx="548">
                  <c:v>45000</c:v>
                </c:pt>
                <c:pt idx="549">
                  <c:v>45001</c:v>
                </c:pt>
                <c:pt idx="550">
                  <c:v>45002</c:v>
                </c:pt>
                <c:pt idx="551">
                  <c:v>45005</c:v>
                </c:pt>
                <c:pt idx="552">
                  <c:v>45006</c:v>
                </c:pt>
                <c:pt idx="553">
                  <c:v>45007</c:v>
                </c:pt>
                <c:pt idx="554">
                  <c:v>45008</c:v>
                </c:pt>
                <c:pt idx="555">
                  <c:v>45009</c:v>
                </c:pt>
                <c:pt idx="556">
                  <c:v>45012</c:v>
                </c:pt>
                <c:pt idx="557">
                  <c:v>45013</c:v>
                </c:pt>
                <c:pt idx="558">
                  <c:v>45014</c:v>
                </c:pt>
                <c:pt idx="559">
                  <c:v>45015</c:v>
                </c:pt>
                <c:pt idx="560">
                  <c:v>45016</c:v>
                </c:pt>
                <c:pt idx="561">
                  <c:v>45019</c:v>
                </c:pt>
                <c:pt idx="562">
                  <c:v>45020</c:v>
                </c:pt>
                <c:pt idx="563">
                  <c:v>45021</c:v>
                </c:pt>
                <c:pt idx="564">
                  <c:v>45022</c:v>
                </c:pt>
                <c:pt idx="565">
                  <c:v>45026</c:v>
                </c:pt>
                <c:pt idx="566">
                  <c:v>45027</c:v>
                </c:pt>
                <c:pt idx="567">
                  <c:v>45028</c:v>
                </c:pt>
                <c:pt idx="568">
                  <c:v>45029</c:v>
                </c:pt>
                <c:pt idx="569">
                  <c:v>45030</c:v>
                </c:pt>
                <c:pt idx="570">
                  <c:v>45033</c:v>
                </c:pt>
                <c:pt idx="571">
                  <c:v>45034</c:v>
                </c:pt>
                <c:pt idx="572">
                  <c:v>45035</c:v>
                </c:pt>
                <c:pt idx="573">
                  <c:v>45036</c:v>
                </c:pt>
                <c:pt idx="574">
                  <c:v>45037</c:v>
                </c:pt>
                <c:pt idx="575">
                  <c:v>45040</c:v>
                </c:pt>
                <c:pt idx="576">
                  <c:v>45041</c:v>
                </c:pt>
                <c:pt idx="577">
                  <c:v>45042</c:v>
                </c:pt>
                <c:pt idx="578">
                  <c:v>45043</c:v>
                </c:pt>
                <c:pt idx="579">
                  <c:v>45044</c:v>
                </c:pt>
                <c:pt idx="580">
                  <c:v>45047</c:v>
                </c:pt>
                <c:pt idx="581">
                  <c:v>45048</c:v>
                </c:pt>
                <c:pt idx="582">
                  <c:v>45049</c:v>
                </c:pt>
                <c:pt idx="583">
                  <c:v>45050</c:v>
                </c:pt>
                <c:pt idx="584">
                  <c:v>45051</c:v>
                </c:pt>
                <c:pt idx="585">
                  <c:v>45054</c:v>
                </c:pt>
                <c:pt idx="586">
                  <c:v>45055</c:v>
                </c:pt>
                <c:pt idx="587">
                  <c:v>45056</c:v>
                </c:pt>
                <c:pt idx="588">
                  <c:v>45057</c:v>
                </c:pt>
                <c:pt idx="589">
                  <c:v>45058</c:v>
                </c:pt>
                <c:pt idx="590">
                  <c:v>45061</c:v>
                </c:pt>
                <c:pt idx="591">
                  <c:v>45062</c:v>
                </c:pt>
                <c:pt idx="592">
                  <c:v>45063</c:v>
                </c:pt>
                <c:pt idx="593">
                  <c:v>45064</c:v>
                </c:pt>
                <c:pt idx="594">
                  <c:v>45065</c:v>
                </c:pt>
                <c:pt idx="595">
                  <c:v>45068</c:v>
                </c:pt>
                <c:pt idx="596">
                  <c:v>45069</c:v>
                </c:pt>
                <c:pt idx="597">
                  <c:v>45070</c:v>
                </c:pt>
                <c:pt idx="598">
                  <c:v>45071</c:v>
                </c:pt>
                <c:pt idx="599">
                  <c:v>45072</c:v>
                </c:pt>
                <c:pt idx="600">
                  <c:v>45076</c:v>
                </c:pt>
                <c:pt idx="601">
                  <c:v>45077</c:v>
                </c:pt>
                <c:pt idx="602">
                  <c:v>45078</c:v>
                </c:pt>
                <c:pt idx="603">
                  <c:v>45079</c:v>
                </c:pt>
                <c:pt idx="604">
                  <c:v>45082</c:v>
                </c:pt>
                <c:pt idx="605">
                  <c:v>45083</c:v>
                </c:pt>
                <c:pt idx="606">
                  <c:v>45084</c:v>
                </c:pt>
                <c:pt idx="607">
                  <c:v>45085</c:v>
                </c:pt>
                <c:pt idx="608">
                  <c:v>45086</c:v>
                </c:pt>
                <c:pt idx="609">
                  <c:v>45089</c:v>
                </c:pt>
                <c:pt idx="610">
                  <c:v>45090</c:v>
                </c:pt>
                <c:pt idx="611">
                  <c:v>45091</c:v>
                </c:pt>
                <c:pt idx="612">
                  <c:v>45092</c:v>
                </c:pt>
                <c:pt idx="613">
                  <c:v>45093</c:v>
                </c:pt>
                <c:pt idx="614">
                  <c:v>45097</c:v>
                </c:pt>
                <c:pt idx="615">
                  <c:v>45098</c:v>
                </c:pt>
                <c:pt idx="616">
                  <c:v>45099</c:v>
                </c:pt>
                <c:pt idx="617">
                  <c:v>45100</c:v>
                </c:pt>
                <c:pt idx="618">
                  <c:v>45103</c:v>
                </c:pt>
                <c:pt idx="619">
                  <c:v>45104</c:v>
                </c:pt>
                <c:pt idx="620">
                  <c:v>45105</c:v>
                </c:pt>
                <c:pt idx="621">
                  <c:v>45106</c:v>
                </c:pt>
                <c:pt idx="622">
                  <c:v>45107</c:v>
                </c:pt>
                <c:pt idx="623">
                  <c:v>45110</c:v>
                </c:pt>
                <c:pt idx="624">
                  <c:v>45112</c:v>
                </c:pt>
                <c:pt idx="625">
                  <c:v>45113</c:v>
                </c:pt>
                <c:pt idx="626">
                  <c:v>45114</c:v>
                </c:pt>
                <c:pt idx="627">
                  <c:v>45117</c:v>
                </c:pt>
                <c:pt idx="628">
                  <c:v>45118</c:v>
                </c:pt>
                <c:pt idx="629">
                  <c:v>45119</c:v>
                </c:pt>
                <c:pt idx="630">
                  <c:v>45120</c:v>
                </c:pt>
                <c:pt idx="631">
                  <c:v>45121</c:v>
                </c:pt>
                <c:pt idx="632">
                  <c:v>45124</c:v>
                </c:pt>
                <c:pt idx="633">
                  <c:v>45125</c:v>
                </c:pt>
                <c:pt idx="634">
                  <c:v>45126</c:v>
                </c:pt>
                <c:pt idx="635">
                  <c:v>45127</c:v>
                </c:pt>
                <c:pt idx="636">
                  <c:v>45128</c:v>
                </c:pt>
                <c:pt idx="637">
                  <c:v>45131</c:v>
                </c:pt>
                <c:pt idx="638">
                  <c:v>45132</c:v>
                </c:pt>
                <c:pt idx="639">
                  <c:v>45133</c:v>
                </c:pt>
                <c:pt idx="640">
                  <c:v>45134</c:v>
                </c:pt>
                <c:pt idx="641">
                  <c:v>45135</c:v>
                </c:pt>
                <c:pt idx="642">
                  <c:v>45138</c:v>
                </c:pt>
                <c:pt idx="643">
                  <c:v>45139</c:v>
                </c:pt>
                <c:pt idx="644">
                  <c:v>45140</c:v>
                </c:pt>
                <c:pt idx="645">
                  <c:v>45141</c:v>
                </c:pt>
                <c:pt idx="646">
                  <c:v>45142</c:v>
                </c:pt>
                <c:pt idx="647">
                  <c:v>45145</c:v>
                </c:pt>
                <c:pt idx="648">
                  <c:v>45146</c:v>
                </c:pt>
                <c:pt idx="649">
                  <c:v>45147</c:v>
                </c:pt>
                <c:pt idx="650">
                  <c:v>45148</c:v>
                </c:pt>
                <c:pt idx="651">
                  <c:v>45149</c:v>
                </c:pt>
                <c:pt idx="652">
                  <c:v>45152</c:v>
                </c:pt>
                <c:pt idx="653">
                  <c:v>45153</c:v>
                </c:pt>
                <c:pt idx="654">
                  <c:v>45154</c:v>
                </c:pt>
                <c:pt idx="655">
                  <c:v>45155</c:v>
                </c:pt>
                <c:pt idx="656">
                  <c:v>45156</c:v>
                </c:pt>
                <c:pt idx="657">
                  <c:v>45159</c:v>
                </c:pt>
                <c:pt idx="658">
                  <c:v>45160</c:v>
                </c:pt>
                <c:pt idx="659">
                  <c:v>45161</c:v>
                </c:pt>
                <c:pt idx="660">
                  <c:v>45162</c:v>
                </c:pt>
                <c:pt idx="661">
                  <c:v>45163</c:v>
                </c:pt>
                <c:pt idx="662">
                  <c:v>45166</c:v>
                </c:pt>
                <c:pt idx="663">
                  <c:v>45167</c:v>
                </c:pt>
                <c:pt idx="664">
                  <c:v>45168</c:v>
                </c:pt>
                <c:pt idx="665">
                  <c:v>45169</c:v>
                </c:pt>
                <c:pt idx="666">
                  <c:v>45170</c:v>
                </c:pt>
                <c:pt idx="667">
                  <c:v>45174</c:v>
                </c:pt>
                <c:pt idx="668">
                  <c:v>45175</c:v>
                </c:pt>
                <c:pt idx="669">
                  <c:v>45176</c:v>
                </c:pt>
                <c:pt idx="670">
                  <c:v>45177</c:v>
                </c:pt>
                <c:pt idx="671">
                  <c:v>45180</c:v>
                </c:pt>
                <c:pt idx="672">
                  <c:v>45181</c:v>
                </c:pt>
                <c:pt idx="673">
                  <c:v>45182</c:v>
                </c:pt>
                <c:pt idx="674">
                  <c:v>45183</c:v>
                </c:pt>
                <c:pt idx="675">
                  <c:v>45184</c:v>
                </c:pt>
                <c:pt idx="676">
                  <c:v>45187</c:v>
                </c:pt>
                <c:pt idx="677">
                  <c:v>45188</c:v>
                </c:pt>
                <c:pt idx="678">
                  <c:v>45189</c:v>
                </c:pt>
                <c:pt idx="679">
                  <c:v>45190</c:v>
                </c:pt>
                <c:pt idx="680">
                  <c:v>45191</c:v>
                </c:pt>
                <c:pt idx="681">
                  <c:v>45194</c:v>
                </c:pt>
                <c:pt idx="682">
                  <c:v>45195</c:v>
                </c:pt>
                <c:pt idx="683">
                  <c:v>45196</c:v>
                </c:pt>
                <c:pt idx="684">
                  <c:v>45197</c:v>
                </c:pt>
                <c:pt idx="685">
                  <c:v>45198</c:v>
                </c:pt>
                <c:pt idx="686">
                  <c:v>45201</c:v>
                </c:pt>
                <c:pt idx="687">
                  <c:v>45202</c:v>
                </c:pt>
                <c:pt idx="688">
                  <c:v>45203</c:v>
                </c:pt>
                <c:pt idx="689">
                  <c:v>45204</c:v>
                </c:pt>
                <c:pt idx="690">
                  <c:v>45205</c:v>
                </c:pt>
                <c:pt idx="691">
                  <c:v>45209</c:v>
                </c:pt>
                <c:pt idx="692">
                  <c:v>45210</c:v>
                </c:pt>
                <c:pt idx="693">
                  <c:v>45211</c:v>
                </c:pt>
                <c:pt idx="694">
                  <c:v>45212</c:v>
                </c:pt>
                <c:pt idx="695">
                  <c:v>45215</c:v>
                </c:pt>
                <c:pt idx="696">
                  <c:v>45216</c:v>
                </c:pt>
                <c:pt idx="697">
                  <c:v>45217</c:v>
                </c:pt>
                <c:pt idx="698">
                  <c:v>45218</c:v>
                </c:pt>
                <c:pt idx="699">
                  <c:v>45219</c:v>
                </c:pt>
                <c:pt idx="700">
                  <c:v>45222</c:v>
                </c:pt>
                <c:pt idx="701">
                  <c:v>45223</c:v>
                </c:pt>
                <c:pt idx="702">
                  <c:v>45224</c:v>
                </c:pt>
                <c:pt idx="703">
                  <c:v>45225</c:v>
                </c:pt>
                <c:pt idx="704">
                  <c:v>45226</c:v>
                </c:pt>
                <c:pt idx="705">
                  <c:v>45229</c:v>
                </c:pt>
                <c:pt idx="706">
                  <c:v>45230</c:v>
                </c:pt>
                <c:pt idx="707">
                  <c:v>45231</c:v>
                </c:pt>
                <c:pt idx="708">
                  <c:v>45232</c:v>
                </c:pt>
                <c:pt idx="709">
                  <c:v>45233</c:v>
                </c:pt>
                <c:pt idx="710">
                  <c:v>45236</c:v>
                </c:pt>
              </c:numCache>
            </c:numRef>
          </c:cat>
          <c:val>
            <c:numRef>
              <c:f>Hoja1!$D$2:$D$712</c:f>
              <c:numCache>
                <c:formatCode>0.0%</c:formatCode>
                <c:ptCount val="711"/>
                <c:pt idx="0">
                  <c:v>3.7810000000000003E-2</c:v>
                </c:pt>
                <c:pt idx="1">
                  <c:v>3.8460000000000001E-2</c:v>
                </c:pt>
                <c:pt idx="2">
                  <c:v>3.918E-2</c:v>
                </c:pt>
                <c:pt idx="3">
                  <c:v>3.9629999999999999E-2</c:v>
                </c:pt>
                <c:pt idx="4">
                  <c:v>3.9529999999999996E-2</c:v>
                </c:pt>
                <c:pt idx="5">
                  <c:v>4.0129999999999999E-2</c:v>
                </c:pt>
                <c:pt idx="6">
                  <c:v>4.1149999999999999E-2</c:v>
                </c:pt>
                <c:pt idx="7">
                  <c:v>4.0410000000000001E-2</c:v>
                </c:pt>
                <c:pt idx="8">
                  <c:v>4.0570000000000002E-2</c:v>
                </c:pt>
                <c:pt idx="9">
                  <c:v>4.1120000000000004E-2</c:v>
                </c:pt>
                <c:pt idx="10">
                  <c:v>4.2340000000000003E-2</c:v>
                </c:pt>
                <c:pt idx="11">
                  <c:v>4.2089999999999995E-2</c:v>
                </c:pt>
                <c:pt idx="12">
                  <c:v>4.2649999999999993E-2</c:v>
                </c:pt>
                <c:pt idx="13">
                  <c:v>4.2110000000000002E-2</c:v>
                </c:pt>
                <c:pt idx="14">
                  <c:v>4.2359999999999995E-2</c:v>
                </c:pt>
                <c:pt idx="15">
                  <c:v>4.1660000000000003E-2</c:v>
                </c:pt>
                <c:pt idx="16">
                  <c:v>4.24E-2</c:v>
                </c:pt>
                <c:pt idx="17">
                  <c:v>4.1669999999999999E-2</c:v>
                </c:pt>
                <c:pt idx="18">
                  <c:v>4.1169999999999998E-2</c:v>
                </c:pt>
                <c:pt idx="19">
                  <c:v>4.0849999999999997E-2</c:v>
                </c:pt>
                <c:pt idx="20">
                  <c:v>3.952E-2</c:v>
                </c:pt>
                <c:pt idx="21">
                  <c:v>3.9750000000000001E-2</c:v>
                </c:pt>
                <c:pt idx="22">
                  <c:v>3.918E-2</c:v>
                </c:pt>
                <c:pt idx="23">
                  <c:v>3.8780000000000002E-2</c:v>
                </c:pt>
                <c:pt idx="24">
                  <c:v>3.8730000000000001E-2</c:v>
                </c:pt>
                <c:pt idx="25">
                  <c:v>3.9169999999999996E-2</c:v>
                </c:pt>
                <c:pt idx="26">
                  <c:v>3.9350000000000003E-2</c:v>
                </c:pt>
                <c:pt idx="27">
                  <c:v>3.8949999999999999E-2</c:v>
                </c:pt>
                <c:pt idx="28">
                  <c:v>3.9609999999999999E-2</c:v>
                </c:pt>
                <c:pt idx="29">
                  <c:v>4.0490000000000005E-2</c:v>
                </c:pt>
                <c:pt idx="30">
                  <c:v>4.2060000000000007E-2</c:v>
                </c:pt>
                <c:pt idx="31">
                  <c:v>4.1599999999999998E-2</c:v>
                </c:pt>
                <c:pt idx="32">
                  <c:v>4.3189999999999999E-2</c:v>
                </c:pt>
                <c:pt idx="33">
                  <c:v>4.6239999999999996E-2</c:v>
                </c:pt>
                <c:pt idx="34">
                  <c:v>4.4809999999999996E-2</c:v>
                </c:pt>
                <c:pt idx="35">
                  <c:v>4.4069999999999998E-2</c:v>
                </c:pt>
                <c:pt idx="36">
                  <c:v>4.5149999999999996E-2</c:v>
                </c:pt>
                <c:pt idx="37">
                  <c:v>4.5789999999999997E-2</c:v>
                </c:pt>
                <c:pt idx="38">
                  <c:v>4.5380000000000004E-2</c:v>
                </c:pt>
                <c:pt idx="39">
                  <c:v>4.5700000000000005E-2</c:v>
                </c:pt>
                <c:pt idx="40">
                  <c:v>4.6639999999999994E-2</c:v>
                </c:pt>
                <c:pt idx="41">
                  <c:v>4.5670000000000002E-2</c:v>
                </c:pt>
                <c:pt idx="42">
                  <c:v>4.7199999999999999E-2</c:v>
                </c:pt>
                <c:pt idx="43">
                  <c:v>4.8099999999999997E-2</c:v>
                </c:pt>
                <c:pt idx="44">
                  <c:v>4.9169999999999998E-2</c:v>
                </c:pt>
                <c:pt idx="45">
                  <c:v>4.845E-2</c:v>
                </c:pt>
                <c:pt idx="46">
                  <c:v>4.7300000000000002E-2</c:v>
                </c:pt>
                <c:pt idx="47">
                  <c:v>4.7729999999999995E-2</c:v>
                </c:pt>
                <c:pt idx="48">
                  <c:v>4.7809999999999998E-2</c:v>
                </c:pt>
                <c:pt idx="49">
                  <c:v>4.7489999999999997E-2</c:v>
                </c:pt>
                <c:pt idx="50">
                  <c:v>4.8300000000000003E-2</c:v>
                </c:pt>
                <c:pt idx="51">
                  <c:v>4.7869999999999996E-2</c:v>
                </c:pt>
                <c:pt idx="52">
                  <c:v>4.7070000000000001E-2</c:v>
                </c:pt>
                <c:pt idx="53">
                  <c:v>4.6790000000000005E-2</c:v>
                </c:pt>
                <c:pt idx="54">
                  <c:v>4.6809999999999997E-2</c:v>
                </c:pt>
                <c:pt idx="55">
                  <c:v>4.7439999999999996E-2</c:v>
                </c:pt>
                <c:pt idx="56">
                  <c:v>4.8649999999999999E-2</c:v>
                </c:pt>
                <c:pt idx="57">
                  <c:v>4.9050000000000003E-2</c:v>
                </c:pt>
                <c:pt idx="58">
                  <c:v>4.9610000000000001E-2</c:v>
                </c:pt>
                <c:pt idx="59">
                  <c:v>5.0279999999999998E-2</c:v>
                </c:pt>
                <c:pt idx="60">
                  <c:v>4.8579999999999998E-2</c:v>
                </c:pt>
                <c:pt idx="61">
                  <c:v>4.7980000000000002E-2</c:v>
                </c:pt>
                <c:pt idx="62">
                  <c:v>4.8230000000000002E-2</c:v>
                </c:pt>
                <c:pt idx="63">
                  <c:v>4.7960000000000003E-2</c:v>
                </c:pt>
                <c:pt idx="64">
                  <c:v>4.7809999999999998E-2</c:v>
                </c:pt>
                <c:pt idx="65">
                  <c:v>4.7640000000000002E-2</c:v>
                </c:pt>
                <c:pt idx="66">
                  <c:v>4.7E-2</c:v>
                </c:pt>
                <c:pt idx="67">
                  <c:v>4.7030000000000002E-2</c:v>
                </c:pt>
                <c:pt idx="68">
                  <c:v>4.7050000000000002E-2</c:v>
                </c:pt>
                <c:pt idx="69">
                  <c:v>4.6620000000000002E-2</c:v>
                </c:pt>
                <c:pt idx="70">
                  <c:v>4.5730000000000007E-2</c:v>
                </c:pt>
                <c:pt idx="71">
                  <c:v>4.5860000000000005E-2</c:v>
                </c:pt>
                <c:pt idx="72">
                  <c:v>4.5749999999999999E-2</c:v>
                </c:pt>
                <c:pt idx="73">
                  <c:v>4.4950000000000004E-2</c:v>
                </c:pt>
                <c:pt idx="74">
                  <c:v>4.5119999999999993E-2</c:v>
                </c:pt>
                <c:pt idx="75">
                  <c:v>4.4660000000000005E-2</c:v>
                </c:pt>
                <c:pt idx="76">
                  <c:v>4.4260000000000001E-2</c:v>
                </c:pt>
                <c:pt idx="77">
                  <c:v>4.4320000000000005E-2</c:v>
                </c:pt>
                <c:pt idx="78">
                  <c:v>4.4640000000000006E-2</c:v>
                </c:pt>
                <c:pt idx="79">
                  <c:v>4.5170000000000002E-2</c:v>
                </c:pt>
                <c:pt idx="80">
                  <c:v>4.5279999999999994E-2</c:v>
                </c:pt>
                <c:pt idx="81">
                  <c:v>4.5620000000000001E-2</c:v>
                </c:pt>
                <c:pt idx="82">
                  <c:v>4.5519999999999998E-2</c:v>
                </c:pt>
                <c:pt idx="83">
                  <c:v>4.5519999999999998E-2</c:v>
                </c:pt>
                <c:pt idx="84">
                  <c:v>4.4940000000000001E-2</c:v>
                </c:pt>
                <c:pt idx="85">
                  <c:v>4.4519999999999997E-2</c:v>
                </c:pt>
                <c:pt idx="86">
                  <c:v>4.3259999999999993E-2</c:v>
                </c:pt>
                <c:pt idx="87">
                  <c:v>4.292E-2</c:v>
                </c:pt>
                <c:pt idx="88">
                  <c:v>4.36E-2</c:v>
                </c:pt>
                <c:pt idx="89">
                  <c:v>4.4039999999999996E-2</c:v>
                </c:pt>
                <c:pt idx="90">
                  <c:v>4.3659999999999997E-2</c:v>
                </c:pt>
                <c:pt idx="91">
                  <c:v>4.3339999999999997E-2</c:v>
                </c:pt>
                <c:pt idx="92">
                  <c:v>4.3390000000000005E-2</c:v>
                </c:pt>
                <c:pt idx="93">
                  <c:v>4.3449999999999996E-2</c:v>
                </c:pt>
                <c:pt idx="94">
                  <c:v>4.3730000000000005E-2</c:v>
                </c:pt>
                <c:pt idx="95">
                  <c:v>4.3310000000000001E-2</c:v>
                </c:pt>
                <c:pt idx="96">
                  <c:v>4.3060000000000001E-2</c:v>
                </c:pt>
                <c:pt idx="97">
                  <c:v>4.2900000000000001E-2</c:v>
                </c:pt>
                <c:pt idx="98">
                  <c:v>4.2599999999999999E-2</c:v>
                </c:pt>
                <c:pt idx="99">
                  <c:v>4.1909999999999996E-2</c:v>
                </c:pt>
                <c:pt idx="100">
                  <c:v>4.2699999999999995E-2</c:v>
                </c:pt>
                <c:pt idx="101">
                  <c:v>4.2539999999999994E-2</c:v>
                </c:pt>
                <c:pt idx="102">
                  <c:v>4.2660000000000003E-2</c:v>
                </c:pt>
                <c:pt idx="103">
                  <c:v>4.1939999999999998E-2</c:v>
                </c:pt>
                <c:pt idx="104">
                  <c:v>4.2950000000000002E-2</c:v>
                </c:pt>
                <c:pt idx="105">
                  <c:v>4.258E-2</c:v>
                </c:pt>
                <c:pt idx="106">
                  <c:v>4.2450000000000002E-2</c:v>
                </c:pt>
                <c:pt idx="107">
                  <c:v>4.1870000000000004E-2</c:v>
                </c:pt>
                <c:pt idx="108">
                  <c:v>4.122E-2</c:v>
                </c:pt>
                <c:pt idx="109">
                  <c:v>4.1159999999999995E-2</c:v>
                </c:pt>
                <c:pt idx="110">
                  <c:v>4.0810000000000006E-2</c:v>
                </c:pt>
                <c:pt idx="111">
                  <c:v>4.0979999999999996E-2</c:v>
                </c:pt>
                <c:pt idx="112">
                  <c:v>4.1020000000000001E-2</c:v>
                </c:pt>
                <c:pt idx="113">
                  <c:v>4.0759999999999998E-2</c:v>
                </c:pt>
                <c:pt idx="114">
                  <c:v>4.0439999999999997E-2</c:v>
                </c:pt>
                <c:pt idx="115">
                  <c:v>4.0170000000000004E-2</c:v>
                </c:pt>
                <c:pt idx="116">
                  <c:v>4.0389999999999995E-2</c:v>
                </c:pt>
                <c:pt idx="117">
                  <c:v>4.0549999999999996E-2</c:v>
                </c:pt>
                <c:pt idx="118">
                  <c:v>4.0670000000000005E-2</c:v>
                </c:pt>
                <c:pt idx="119">
                  <c:v>4.0439999999999997E-2</c:v>
                </c:pt>
                <c:pt idx="120">
                  <c:v>4.045E-2</c:v>
                </c:pt>
                <c:pt idx="121">
                  <c:v>0.04</c:v>
                </c:pt>
                <c:pt idx="122">
                  <c:v>4.0309999999999999E-2</c:v>
                </c:pt>
                <c:pt idx="123">
                  <c:v>4.0439999999999997E-2</c:v>
                </c:pt>
                <c:pt idx="124">
                  <c:v>4.1410000000000002E-2</c:v>
                </c:pt>
                <c:pt idx="125">
                  <c:v>4.1609999999999994E-2</c:v>
                </c:pt>
                <c:pt idx="126">
                  <c:v>4.1500000000000002E-2</c:v>
                </c:pt>
                <c:pt idx="127">
                  <c:v>4.1149999999999999E-2</c:v>
                </c:pt>
                <c:pt idx="128">
                  <c:v>4.1550000000000004E-2</c:v>
                </c:pt>
                <c:pt idx="129">
                  <c:v>4.1779999999999998E-2</c:v>
                </c:pt>
                <c:pt idx="130">
                  <c:v>4.1860000000000001E-2</c:v>
                </c:pt>
                <c:pt idx="131">
                  <c:v>4.1680000000000002E-2</c:v>
                </c:pt>
                <c:pt idx="132">
                  <c:v>4.1589999999999995E-2</c:v>
                </c:pt>
                <c:pt idx="133">
                  <c:v>4.1529999999999997E-2</c:v>
                </c:pt>
                <c:pt idx="134">
                  <c:v>4.1309999999999999E-2</c:v>
                </c:pt>
                <c:pt idx="135">
                  <c:v>4.1429999999999995E-2</c:v>
                </c:pt>
                <c:pt idx="136">
                  <c:v>4.1500000000000002E-2</c:v>
                </c:pt>
                <c:pt idx="137">
                  <c:v>4.1849999999999998E-2</c:v>
                </c:pt>
                <c:pt idx="138">
                  <c:v>4.1529999999999997E-2</c:v>
                </c:pt>
                <c:pt idx="139">
                  <c:v>4.1500000000000002E-2</c:v>
                </c:pt>
                <c:pt idx="140">
                  <c:v>4.1459999999999997E-2</c:v>
                </c:pt>
                <c:pt idx="141">
                  <c:v>4.1550000000000004E-2</c:v>
                </c:pt>
                <c:pt idx="142">
                  <c:v>4.1700000000000001E-2</c:v>
                </c:pt>
                <c:pt idx="143">
                  <c:v>4.1399999999999999E-2</c:v>
                </c:pt>
                <c:pt idx="144">
                  <c:v>4.1230000000000003E-2</c:v>
                </c:pt>
                <c:pt idx="145">
                  <c:v>4.088E-2</c:v>
                </c:pt>
                <c:pt idx="146">
                  <c:v>4.1079999999999998E-2</c:v>
                </c:pt>
                <c:pt idx="147">
                  <c:v>4.1159999999999995E-2</c:v>
                </c:pt>
                <c:pt idx="148">
                  <c:v>4.0770000000000001E-2</c:v>
                </c:pt>
                <c:pt idx="149">
                  <c:v>4.0979999999999996E-2</c:v>
                </c:pt>
                <c:pt idx="150">
                  <c:v>4.1180000000000001E-2</c:v>
                </c:pt>
                <c:pt idx="151">
                  <c:v>4.1340000000000002E-2</c:v>
                </c:pt>
                <c:pt idx="152">
                  <c:v>4.1059999999999999E-2</c:v>
                </c:pt>
                <c:pt idx="153">
                  <c:v>4.061E-2</c:v>
                </c:pt>
                <c:pt idx="154">
                  <c:v>3.9629999999999999E-2</c:v>
                </c:pt>
                <c:pt idx="155">
                  <c:v>3.977E-2</c:v>
                </c:pt>
                <c:pt idx="156">
                  <c:v>0.04</c:v>
                </c:pt>
                <c:pt idx="157">
                  <c:v>4.0209999999999996E-2</c:v>
                </c:pt>
                <c:pt idx="158">
                  <c:v>4.0730000000000002E-2</c:v>
                </c:pt>
                <c:pt idx="159">
                  <c:v>4.0759999999999998E-2</c:v>
                </c:pt>
                <c:pt idx="160">
                  <c:v>4.0570000000000002E-2</c:v>
                </c:pt>
                <c:pt idx="161">
                  <c:v>4.0750000000000001E-2</c:v>
                </c:pt>
                <c:pt idx="162">
                  <c:v>4.1130000000000007E-2</c:v>
                </c:pt>
                <c:pt idx="163">
                  <c:v>4.1139999999999996E-2</c:v>
                </c:pt>
                <c:pt idx="164">
                  <c:v>4.086E-2</c:v>
                </c:pt>
                <c:pt idx="165">
                  <c:v>4.0209999999999996E-2</c:v>
                </c:pt>
                <c:pt idx="166">
                  <c:v>4.0030000000000003E-2</c:v>
                </c:pt>
                <c:pt idx="167">
                  <c:v>3.9919999999999997E-2</c:v>
                </c:pt>
                <c:pt idx="168">
                  <c:v>3.9609999999999999E-2</c:v>
                </c:pt>
                <c:pt idx="169">
                  <c:v>3.9750000000000001E-2</c:v>
                </c:pt>
                <c:pt idx="170">
                  <c:v>4.0190000000000003E-2</c:v>
                </c:pt>
                <c:pt idx="171">
                  <c:v>4.0399999999999998E-2</c:v>
                </c:pt>
                <c:pt idx="172">
                  <c:v>4.0830000000000005E-2</c:v>
                </c:pt>
                <c:pt idx="173">
                  <c:v>4.0559999999999999E-2</c:v>
                </c:pt>
                <c:pt idx="174">
                  <c:v>4.0430000000000001E-2</c:v>
                </c:pt>
                <c:pt idx="175">
                  <c:v>4.0579999999999998E-2</c:v>
                </c:pt>
                <c:pt idx="176">
                  <c:v>4.086E-2</c:v>
                </c:pt>
                <c:pt idx="177">
                  <c:v>4.1349999999999998E-2</c:v>
                </c:pt>
                <c:pt idx="178">
                  <c:v>4.1700000000000001E-2</c:v>
                </c:pt>
                <c:pt idx="179">
                  <c:v>4.2270000000000002E-2</c:v>
                </c:pt>
                <c:pt idx="180">
                  <c:v>4.2119999999999998E-2</c:v>
                </c:pt>
                <c:pt idx="181">
                  <c:v>4.1759999999999999E-2</c:v>
                </c:pt>
                <c:pt idx="182">
                  <c:v>4.2190000000000005E-2</c:v>
                </c:pt>
                <c:pt idx="183">
                  <c:v>4.3470000000000002E-2</c:v>
                </c:pt>
                <c:pt idx="184">
                  <c:v>4.4189999999999993E-2</c:v>
                </c:pt>
                <c:pt idx="185">
                  <c:v>4.5419999999999995E-2</c:v>
                </c:pt>
                <c:pt idx="186">
                  <c:v>4.446E-2</c:v>
                </c:pt>
                <c:pt idx="187">
                  <c:v>4.4699999999999997E-2</c:v>
                </c:pt>
                <c:pt idx="188">
                  <c:v>4.4800000000000006E-2</c:v>
                </c:pt>
                <c:pt idx="189">
                  <c:v>4.5069999999999999E-2</c:v>
                </c:pt>
                <c:pt idx="190">
                  <c:v>4.5289999999999997E-2</c:v>
                </c:pt>
                <c:pt idx="191">
                  <c:v>4.514E-2</c:v>
                </c:pt>
                <c:pt idx="192">
                  <c:v>4.453E-2</c:v>
                </c:pt>
                <c:pt idx="193">
                  <c:v>4.4770000000000004E-2</c:v>
                </c:pt>
                <c:pt idx="194">
                  <c:v>4.4900000000000002E-2</c:v>
                </c:pt>
                <c:pt idx="195">
                  <c:v>4.4790000000000003E-2</c:v>
                </c:pt>
                <c:pt idx="196">
                  <c:v>4.3949999999999996E-2</c:v>
                </c:pt>
                <c:pt idx="197">
                  <c:v>4.4059999999999995E-2</c:v>
                </c:pt>
                <c:pt idx="198">
                  <c:v>4.446E-2</c:v>
                </c:pt>
                <c:pt idx="199">
                  <c:v>4.5129999999999997E-2</c:v>
                </c:pt>
                <c:pt idx="200">
                  <c:v>4.5839999999999999E-2</c:v>
                </c:pt>
                <c:pt idx="201">
                  <c:v>4.7199999999999999E-2</c:v>
                </c:pt>
                <c:pt idx="202">
                  <c:v>5.0029999999999998E-2</c:v>
                </c:pt>
                <c:pt idx="203">
                  <c:v>4.7E-2</c:v>
                </c:pt>
                <c:pt idx="204">
                  <c:v>4.6699999999999998E-2</c:v>
                </c:pt>
                <c:pt idx="205">
                  <c:v>4.6639999999999994E-2</c:v>
                </c:pt>
                <c:pt idx="206">
                  <c:v>4.6890000000000001E-2</c:v>
                </c:pt>
                <c:pt idx="207">
                  <c:v>4.8529999999999997E-2</c:v>
                </c:pt>
                <c:pt idx="208">
                  <c:v>5.0709999999999998E-2</c:v>
                </c:pt>
                <c:pt idx="209">
                  <c:v>5.0469999999999994E-2</c:v>
                </c:pt>
                <c:pt idx="210">
                  <c:v>5.0130000000000001E-2</c:v>
                </c:pt>
                <c:pt idx="211">
                  <c:v>4.8639999999999996E-2</c:v>
                </c:pt>
                <c:pt idx="212">
                  <c:v>4.7710000000000002E-2</c:v>
                </c:pt>
                <c:pt idx="213">
                  <c:v>4.7550000000000002E-2</c:v>
                </c:pt>
                <c:pt idx="214">
                  <c:v>4.6890000000000001E-2</c:v>
                </c:pt>
                <c:pt idx="215">
                  <c:v>4.7169999999999997E-2</c:v>
                </c:pt>
                <c:pt idx="216">
                  <c:v>4.7859999999999993E-2</c:v>
                </c:pt>
                <c:pt idx="217">
                  <c:v>4.8039999999999999E-2</c:v>
                </c:pt>
                <c:pt idx="218">
                  <c:v>4.8189999999999997E-2</c:v>
                </c:pt>
                <c:pt idx="219">
                  <c:v>4.8330000000000005E-2</c:v>
                </c:pt>
                <c:pt idx="220">
                  <c:v>4.8300000000000003E-2</c:v>
                </c:pt>
                <c:pt idx="221">
                  <c:v>4.8140000000000002E-2</c:v>
                </c:pt>
                <c:pt idx="222">
                  <c:v>4.8160000000000001E-2</c:v>
                </c:pt>
                <c:pt idx="223">
                  <c:v>4.9699999999999994E-2</c:v>
                </c:pt>
                <c:pt idx="224">
                  <c:v>4.999E-2</c:v>
                </c:pt>
                <c:pt idx="225">
                  <c:v>5.1100000000000007E-2</c:v>
                </c:pt>
                <c:pt idx="226">
                  <c:v>5.1100000000000007E-2</c:v>
                </c:pt>
                <c:pt idx="227">
                  <c:v>5.0369999999999998E-2</c:v>
                </c:pt>
                <c:pt idx="228">
                  <c:v>4.9619999999999997E-2</c:v>
                </c:pt>
                <c:pt idx="229">
                  <c:v>4.913E-2</c:v>
                </c:pt>
                <c:pt idx="230">
                  <c:v>4.8129999999999999E-2</c:v>
                </c:pt>
                <c:pt idx="231">
                  <c:v>4.8120000000000003E-2</c:v>
                </c:pt>
                <c:pt idx="232">
                  <c:v>4.6639999999999994E-2</c:v>
                </c:pt>
                <c:pt idx="233">
                  <c:v>4.6730000000000001E-2</c:v>
                </c:pt>
                <c:pt idx="234">
                  <c:v>4.6529999999999995E-2</c:v>
                </c:pt>
                <c:pt idx="235">
                  <c:v>4.657E-2</c:v>
                </c:pt>
                <c:pt idx="236">
                  <c:v>4.641E-2</c:v>
                </c:pt>
                <c:pt idx="237">
                  <c:v>4.6529999999999995E-2</c:v>
                </c:pt>
                <c:pt idx="238">
                  <c:v>4.6980000000000001E-2</c:v>
                </c:pt>
                <c:pt idx="239">
                  <c:v>4.6929999999999999E-2</c:v>
                </c:pt>
                <c:pt idx="240">
                  <c:v>4.6920000000000003E-2</c:v>
                </c:pt>
                <c:pt idx="241">
                  <c:v>4.7710000000000002E-2</c:v>
                </c:pt>
                <c:pt idx="242">
                  <c:v>4.793E-2</c:v>
                </c:pt>
                <c:pt idx="243">
                  <c:v>4.759E-2</c:v>
                </c:pt>
                <c:pt idx="244">
                  <c:v>4.7460000000000002E-2</c:v>
                </c:pt>
                <c:pt idx="245">
                  <c:v>4.7270000000000006E-2</c:v>
                </c:pt>
                <c:pt idx="246">
                  <c:v>4.7110000000000006E-2</c:v>
                </c:pt>
                <c:pt idx="247">
                  <c:v>4.7220000000000005E-2</c:v>
                </c:pt>
                <c:pt idx="248">
                  <c:v>4.7070000000000001E-2</c:v>
                </c:pt>
                <c:pt idx="249">
                  <c:v>4.7009999999999996E-2</c:v>
                </c:pt>
                <c:pt idx="250">
                  <c:v>4.7409999999999994E-2</c:v>
                </c:pt>
                <c:pt idx="251">
                  <c:v>4.7960000000000003E-2</c:v>
                </c:pt>
                <c:pt idx="252">
                  <c:v>4.7869999999999996E-2</c:v>
                </c:pt>
                <c:pt idx="253">
                  <c:v>4.9540000000000001E-2</c:v>
                </c:pt>
                <c:pt idx="254">
                  <c:v>4.981E-2</c:v>
                </c:pt>
                <c:pt idx="255">
                  <c:v>5.0499999999999996E-2</c:v>
                </c:pt>
                <c:pt idx="256">
                  <c:v>5.008E-2</c:v>
                </c:pt>
                <c:pt idx="257">
                  <c:v>4.9950000000000001E-2</c:v>
                </c:pt>
                <c:pt idx="258">
                  <c:v>5.015E-2</c:v>
                </c:pt>
                <c:pt idx="259">
                  <c:v>5.1130000000000002E-2</c:v>
                </c:pt>
                <c:pt idx="260">
                  <c:v>5.2320000000000005E-2</c:v>
                </c:pt>
                <c:pt idx="261">
                  <c:v>5.1569999999999998E-2</c:v>
                </c:pt>
                <c:pt idx="262">
                  <c:v>5.0730000000000004E-2</c:v>
                </c:pt>
                <c:pt idx="263">
                  <c:v>5.0529999999999999E-2</c:v>
                </c:pt>
                <c:pt idx="264">
                  <c:v>5.0590000000000003E-2</c:v>
                </c:pt>
                <c:pt idx="265">
                  <c:v>5.0799999999999998E-2</c:v>
                </c:pt>
                <c:pt idx="266">
                  <c:v>5.0450000000000002E-2</c:v>
                </c:pt>
                <c:pt idx="267">
                  <c:v>5.0770000000000003E-2</c:v>
                </c:pt>
                <c:pt idx="268">
                  <c:v>5.0949999999999995E-2</c:v>
                </c:pt>
                <c:pt idx="269">
                  <c:v>5.1119999999999999E-2</c:v>
                </c:pt>
                <c:pt idx="270">
                  <c:v>5.1109999999999996E-2</c:v>
                </c:pt>
                <c:pt idx="271">
                  <c:v>5.0720000000000001E-2</c:v>
                </c:pt>
                <c:pt idx="272">
                  <c:v>5.135E-2</c:v>
                </c:pt>
                <c:pt idx="273">
                  <c:v>5.2679999999999998E-2</c:v>
                </c:pt>
                <c:pt idx="274">
                  <c:v>5.2949999999999997E-2</c:v>
                </c:pt>
                <c:pt idx="275">
                  <c:v>5.2900000000000003E-2</c:v>
                </c:pt>
                <c:pt idx="276">
                  <c:v>5.2169999999999994E-2</c:v>
                </c:pt>
                <c:pt idx="277">
                  <c:v>5.2489999999999995E-2</c:v>
                </c:pt>
                <c:pt idx="278">
                  <c:v>5.3749999999999999E-2</c:v>
                </c:pt>
                <c:pt idx="279">
                  <c:v>5.4909999999999994E-2</c:v>
                </c:pt>
                <c:pt idx="280">
                  <c:v>5.4820000000000001E-2</c:v>
                </c:pt>
                <c:pt idx="281">
                  <c:v>5.4829999999999997E-2</c:v>
                </c:pt>
                <c:pt idx="282">
                  <c:v>5.484E-2</c:v>
                </c:pt>
                <c:pt idx="283">
                  <c:v>5.4850000000000003E-2</c:v>
                </c:pt>
                <c:pt idx="284">
                  <c:v>5.527E-2</c:v>
                </c:pt>
                <c:pt idx="285">
                  <c:v>5.6120000000000003E-2</c:v>
                </c:pt>
                <c:pt idx="286">
                  <c:v>5.8760000000000007E-2</c:v>
                </c:pt>
                <c:pt idx="287">
                  <c:v>5.6169999999999998E-2</c:v>
                </c:pt>
                <c:pt idx="288">
                  <c:v>5.5960000000000003E-2</c:v>
                </c:pt>
                <c:pt idx="289">
                  <c:v>5.5469999999999998E-2</c:v>
                </c:pt>
                <c:pt idx="290">
                  <c:v>5.6210000000000003E-2</c:v>
                </c:pt>
                <c:pt idx="291">
                  <c:v>5.638E-2</c:v>
                </c:pt>
                <c:pt idx="292">
                  <c:v>5.6420000000000005E-2</c:v>
                </c:pt>
                <c:pt idx="293">
                  <c:v>5.6740000000000006E-2</c:v>
                </c:pt>
                <c:pt idx="294">
                  <c:v>5.6890000000000003E-2</c:v>
                </c:pt>
                <c:pt idx="295">
                  <c:v>5.5259999999999997E-2</c:v>
                </c:pt>
                <c:pt idx="296">
                  <c:v>5.527E-2</c:v>
                </c:pt>
                <c:pt idx="297">
                  <c:v>5.4820000000000001E-2</c:v>
                </c:pt>
                <c:pt idx="298">
                  <c:v>5.586E-2</c:v>
                </c:pt>
                <c:pt idx="299">
                  <c:v>5.6159999999999995E-2</c:v>
                </c:pt>
                <c:pt idx="300">
                  <c:v>5.4509999999999996E-2</c:v>
                </c:pt>
                <c:pt idx="301">
                  <c:v>5.4189999999999995E-2</c:v>
                </c:pt>
                <c:pt idx="302">
                  <c:v>5.5039999999999999E-2</c:v>
                </c:pt>
                <c:pt idx="303">
                  <c:v>5.5359999999999993E-2</c:v>
                </c:pt>
                <c:pt idx="304">
                  <c:v>5.577E-2</c:v>
                </c:pt>
                <c:pt idx="305">
                  <c:v>5.5640000000000002E-2</c:v>
                </c:pt>
                <c:pt idx="306">
                  <c:v>5.5599999999999997E-2</c:v>
                </c:pt>
                <c:pt idx="307">
                  <c:v>5.5399999999999998E-2</c:v>
                </c:pt>
                <c:pt idx="308">
                  <c:v>5.525E-2</c:v>
                </c:pt>
                <c:pt idx="309">
                  <c:v>5.4909999999999994E-2</c:v>
                </c:pt>
                <c:pt idx="310">
                  <c:v>5.4219999999999997E-2</c:v>
                </c:pt>
                <c:pt idx="311">
                  <c:v>5.407E-2</c:v>
                </c:pt>
                <c:pt idx="312">
                  <c:v>5.4489999999999997E-2</c:v>
                </c:pt>
                <c:pt idx="313">
                  <c:v>5.484E-2</c:v>
                </c:pt>
                <c:pt idx="314">
                  <c:v>5.4600000000000003E-2</c:v>
                </c:pt>
                <c:pt idx="315">
                  <c:v>5.5199999999999999E-2</c:v>
                </c:pt>
                <c:pt idx="316">
                  <c:v>5.5259999999999997E-2</c:v>
                </c:pt>
                <c:pt idx="317">
                  <c:v>5.534E-2</c:v>
                </c:pt>
                <c:pt idx="318">
                  <c:v>5.5940000000000004E-2</c:v>
                </c:pt>
                <c:pt idx="319">
                  <c:v>5.5389999999999995E-2</c:v>
                </c:pt>
                <c:pt idx="320">
                  <c:v>5.5389999999999995E-2</c:v>
                </c:pt>
                <c:pt idx="321">
                  <c:v>5.6280000000000004E-2</c:v>
                </c:pt>
                <c:pt idx="322">
                  <c:v>5.6289999999999993E-2</c:v>
                </c:pt>
                <c:pt idx="323">
                  <c:v>5.6590000000000001E-2</c:v>
                </c:pt>
                <c:pt idx="324">
                  <c:v>5.611E-2</c:v>
                </c:pt>
                <c:pt idx="325">
                  <c:v>5.6619999999999997E-2</c:v>
                </c:pt>
                <c:pt idx="326">
                  <c:v>5.6890000000000003E-2</c:v>
                </c:pt>
                <c:pt idx="327">
                  <c:v>5.7119999999999997E-2</c:v>
                </c:pt>
                <c:pt idx="328">
                  <c:v>5.6509999999999998E-2</c:v>
                </c:pt>
                <c:pt idx="329">
                  <c:v>5.7069999999999996E-2</c:v>
                </c:pt>
                <c:pt idx="330">
                  <c:v>5.774E-2</c:v>
                </c:pt>
                <c:pt idx="331">
                  <c:v>5.8250000000000003E-2</c:v>
                </c:pt>
                <c:pt idx="332">
                  <c:v>5.9389999999999998E-2</c:v>
                </c:pt>
                <c:pt idx="333">
                  <c:v>5.9200000000000003E-2</c:v>
                </c:pt>
                <c:pt idx="334">
                  <c:v>5.9580000000000001E-2</c:v>
                </c:pt>
                <c:pt idx="335">
                  <c:v>6.0019999999999997E-2</c:v>
                </c:pt>
                <c:pt idx="336">
                  <c:v>6.0410000000000005E-2</c:v>
                </c:pt>
                <c:pt idx="337">
                  <c:v>6.1900000000000004E-2</c:v>
                </c:pt>
                <c:pt idx="338">
                  <c:v>6.1409999999999999E-2</c:v>
                </c:pt>
                <c:pt idx="339">
                  <c:v>6.1120000000000001E-2</c:v>
                </c:pt>
                <c:pt idx="340">
                  <c:v>6.1509999999999995E-2</c:v>
                </c:pt>
                <c:pt idx="341">
                  <c:v>6.1500000000000006E-2</c:v>
                </c:pt>
                <c:pt idx="342">
                  <c:v>6.1470000000000004E-2</c:v>
                </c:pt>
                <c:pt idx="343">
                  <c:v>6.1890000000000001E-2</c:v>
                </c:pt>
                <c:pt idx="344">
                  <c:v>6.2080000000000003E-2</c:v>
                </c:pt>
                <c:pt idx="345">
                  <c:v>6.2E-2</c:v>
                </c:pt>
                <c:pt idx="346">
                  <c:v>6.1539999999999997E-2</c:v>
                </c:pt>
                <c:pt idx="347">
                  <c:v>6.1470000000000004E-2</c:v>
                </c:pt>
                <c:pt idx="348">
                  <c:v>6.2119999999999995E-2</c:v>
                </c:pt>
                <c:pt idx="349">
                  <c:v>6.1269999999999998E-2</c:v>
                </c:pt>
                <c:pt idx="350">
                  <c:v>6.0299999999999999E-2</c:v>
                </c:pt>
                <c:pt idx="351">
                  <c:v>5.8520000000000003E-2</c:v>
                </c:pt>
                <c:pt idx="352">
                  <c:v>5.7950000000000002E-2</c:v>
                </c:pt>
                <c:pt idx="353">
                  <c:v>5.8099999999999999E-2</c:v>
                </c:pt>
                <c:pt idx="354">
                  <c:v>5.7859999999999995E-2</c:v>
                </c:pt>
                <c:pt idx="355">
                  <c:v>5.8299999999999998E-2</c:v>
                </c:pt>
                <c:pt idx="356">
                  <c:v>5.8529999999999999E-2</c:v>
                </c:pt>
                <c:pt idx="357">
                  <c:v>5.7930000000000002E-2</c:v>
                </c:pt>
                <c:pt idx="358">
                  <c:v>5.8179999999999996E-2</c:v>
                </c:pt>
                <c:pt idx="359">
                  <c:v>5.8739999999999994E-2</c:v>
                </c:pt>
                <c:pt idx="360">
                  <c:v>5.9699999999999996E-2</c:v>
                </c:pt>
                <c:pt idx="361">
                  <c:v>6.2560000000000004E-2</c:v>
                </c:pt>
                <c:pt idx="362">
                  <c:v>6.3060000000000005E-2</c:v>
                </c:pt>
                <c:pt idx="363">
                  <c:v>6.2729999999999994E-2</c:v>
                </c:pt>
                <c:pt idx="364">
                  <c:v>6.4979999999999996E-2</c:v>
                </c:pt>
                <c:pt idx="365">
                  <c:v>6.4930000000000002E-2</c:v>
                </c:pt>
                <c:pt idx="366">
                  <c:v>6.5769999999999995E-2</c:v>
                </c:pt>
                <c:pt idx="367">
                  <c:v>6.5579999999999999E-2</c:v>
                </c:pt>
                <c:pt idx="368">
                  <c:v>6.515E-2</c:v>
                </c:pt>
                <c:pt idx="369">
                  <c:v>6.5259999999999999E-2</c:v>
                </c:pt>
                <c:pt idx="370">
                  <c:v>6.5659999999999996E-2</c:v>
                </c:pt>
                <c:pt idx="371">
                  <c:v>6.615E-2</c:v>
                </c:pt>
                <c:pt idx="372">
                  <c:v>6.6830000000000001E-2</c:v>
                </c:pt>
                <c:pt idx="373">
                  <c:v>6.6979999999999998E-2</c:v>
                </c:pt>
                <c:pt idx="374">
                  <c:v>6.6089999999999996E-2</c:v>
                </c:pt>
                <c:pt idx="375">
                  <c:v>6.6369999999999998E-2</c:v>
                </c:pt>
                <c:pt idx="376">
                  <c:v>6.5640000000000004E-2</c:v>
                </c:pt>
                <c:pt idx="377">
                  <c:v>6.5930000000000002E-2</c:v>
                </c:pt>
                <c:pt idx="378">
                  <c:v>6.6119999999999998E-2</c:v>
                </c:pt>
                <c:pt idx="379">
                  <c:v>6.6220000000000001E-2</c:v>
                </c:pt>
                <c:pt idx="380">
                  <c:v>6.6250000000000003E-2</c:v>
                </c:pt>
                <c:pt idx="381">
                  <c:v>6.6839999999999997E-2</c:v>
                </c:pt>
                <c:pt idx="382">
                  <c:v>6.7220000000000002E-2</c:v>
                </c:pt>
                <c:pt idx="383">
                  <c:v>6.6890000000000005E-2</c:v>
                </c:pt>
                <c:pt idx="384">
                  <c:v>6.6479999999999997E-2</c:v>
                </c:pt>
                <c:pt idx="385">
                  <c:v>6.6280000000000006E-2</c:v>
                </c:pt>
                <c:pt idx="386">
                  <c:v>6.4930000000000002E-2</c:v>
                </c:pt>
                <c:pt idx="387">
                  <c:v>6.4000000000000001E-2</c:v>
                </c:pt>
                <c:pt idx="388">
                  <c:v>6.2740000000000004E-2</c:v>
                </c:pt>
                <c:pt idx="389">
                  <c:v>6.1710000000000001E-2</c:v>
                </c:pt>
                <c:pt idx="390">
                  <c:v>6.0899999999999996E-2</c:v>
                </c:pt>
                <c:pt idx="391">
                  <c:v>6.071E-2</c:v>
                </c:pt>
                <c:pt idx="392">
                  <c:v>5.9400000000000001E-2</c:v>
                </c:pt>
                <c:pt idx="393">
                  <c:v>5.8540000000000002E-2</c:v>
                </c:pt>
                <c:pt idx="394">
                  <c:v>5.7990000000000007E-2</c:v>
                </c:pt>
                <c:pt idx="395">
                  <c:v>5.8169999999999999E-2</c:v>
                </c:pt>
                <c:pt idx="396">
                  <c:v>5.7759999999999999E-2</c:v>
                </c:pt>
                <c:pt idx="397">
                  <c:v>5.6950000000000001E-2</c:v>
                </c:pt>
                <c:pt idx="398">
                  <c:v>5.636E-2</c:v>
                </c:pt>
                <c:pt idx="399">
                  <c:v>5.5460000000000002E-2</c:v>
                </c:pt>
                <c:pt idx="400">
                  <c:v>5.5449999999999999E-2</c:v>
                </c:pt>
                <c:pt idx="401">
                  <c:v>5.4989999999999997E-2</c:v>
                </c:pt>
                <c:pt idx="402">
                  <c:v>5.33E-2</c:v>
                </c:pt>
                <c:pt idx="403">
                  <c:v>5.3239999999999996E-2</c:v>
                </c:pt>
                <c:pt idx="404">
                  <c:v>5.3319999999999999E-2</c:v>
                </c:pt>
                <c:pt idx="405">
                  <c:v>5.3830000000000003E-2</c:v>
                </c:pt>
                <c:pt idx="406">
                  <c:v>5.4919999999999997E-2</c:v>
                </c:pt>
                <c:pt idx="407">
                  <c:v>5.484E-2</c:v>
                </c:pt>
                <c:pt idx="408">
                  <c:v>5.6939999999999998E-2</c:v>
                </c:pt>
                <c:pt idx="409">
                  <c:v>5.8270000000000002E-2</c:v>
                </c:pt>
                <c:pt idx="410">
                  <c:v>5.79E-2</c:v>
                </c:pt>
                <c:pt idx="411">
                  <c:v>5.7980000000000004E-2</c:v>
                </c:pt>
                <c:pt idx="412">
                  <c:v>5.8360000000000002E-2</c:v>
                </c:pt>
                <c:pt idx="413">
                  <c:v>5.8970000000000002E-2</c:v>
                </c:pt>
                <c:pt idx="414">
                  <c:v>5.9950000000000003E-2</c:v>
                </c:pt>
                <c:pt idx="415">
                  <c:v>6.0039999999999996E-2</c:v>
                </c:pt>
                <c:pt idx="416">
                  <c:v>6.0700000000000004E-2</c:v>
                </c:pt>
                <c:pt idx="417">
                  <c:v>6.1870000000000001E-2</c:v>
                </c:pt>
                <c:pt idx="418">
                  <c:v>6.1519999999999998E-2</c:v>
                </c:pt>
                <c:pt idx="419">
                  <c:v>6.2240000000000004E-2</c:v>
                </c:pt>
                <c:pt idx="420">
                  <c:v>6.2260000000000003E-2</c:v>
                </c:pt>
                <c:pt idx="421">
                  <c:v>6.1849999999999995E-2</c:v>
                </c:pt>
                <c:pt idx="422">
                  <c:v>6.1399999999999996E-2</c:v>
                </c:pt>
                <c:pt idx="423">
                  <c:v>6.1529999999999994E-2</c:v>
                </c:pt>
                <c:pt idx="424">
                  <c:v>6.2480000000000001E-2</c:v>
                </c:pt>
                <c:pt idx="425">
                  <c:v>6.3399999999999998E-2</c:v>
                </c:pt>
                <c:pt idx="426">
                  <c:v>6.4320000000000002E-2</c:v>
                </c:pt>
                <c:pt idx="427">
                  <c:v>6.515E-2</c:v>
                </c:pt>
                <c:pt idx="428">
                  <c:v>6.5860000000000002E-2</c:v>
                </c:pt>
                <c:pt idx="429">
                  <c:v>6.6280000000000006E-2</c:v>
                </c:pt>
                <c:pt idx="430">
                  <c:v>6.5890000000000004E-2</c:v>
                </c:pt>
                <c:pt idx="431">
                  <c:v>6.6650000000000001E-2</c:v>
                </c:pt>
                <c:pt idx="432">
                  <c:v>6.7309999999999995E-2</c:v>
                </c:pt>
                <c:pt idx="433">
                  <c:v>6.9139999999999993E-2</c:v>
                </c:pt>
                <c:pt idx="434">
                  <c:v>7.0379999999999998E-2</c:v>
                </c:pt>
                <c:pt idx="435">
                  <c:v>7.0489999999999997E-2</c:v>
                </c:pt>
                <c:pt idx="436">
                  <c:v>7.0430000000000006E-2</c:v>
                </c:pt>
                <c:pt idx="437">
                  <c:v>7.0580000000000004E-2</c:v>
                </c:pt>
                <c:pt idx="438">
                  <c:v>6.8639999999999993E-2</c:v>
                </c:pt>
                <c:pt idx="439">
                  <c:v>6.658E-2</c:v>
                </c:pt>
                <c:pt idx="440">
                  <c:v>6.8140000000000006E-2</c:v>
                </c:pt>
                <c:pt idx="441">
                  <c:v>6.7960000000000007E-2</c:v>
                </c:pt>
                <c:pt idx="442">
                  <c:v>6.8269999999999997E-2</c:v>
                </c:pt>
                <c:pt idx="443">
                  <c:v>6.9129999999999997E-2</c:v>
                </c:pt>
                <c:pt idx="444">
                  <c:v>6.9249999999999992E-2</c:v>
                </c:pt>
                <c:pt idx="445">
                  <c:v>7.0029999999999995E-2</c:v>
                </c:pt>
                <c:pt idx="446">
                  <c:v>7.0220000000000005E-2</c:v>
                </c:pt>
                <c:pt idx="447">
                  <c:v>6.9960000000000008E-2</c:v>
                </c:pt>
                <c:pt idx="448">
                  <c:v>7.0319999999999994E-2</c:v>
                </c:pt>
                <c:pt idx="449">
                  <c:v>7.0940000000000003E-2</c:v>
                </c:pt>
                <c:pt idx="450">
                  <c:v>7.1749999999999994E-2</c:v>
                </c:pt>
                <c:pt idx="451">
                  <c:v>7.2400000000000006E-2</c:v>
                </c:pt>
                <c:pt idx="452">
                  <c:v>7.1940000000000004E-2</c:v>
                </c:pt>
                <c:pt idx="453">
                  <c:v>7.1279999999999996E-2</c:v>
                </c:pt>
                <c:pt idx="454">
                  <c:v>7.0359999999999992E-2</c:v>
                </c:pt>
                <c:pt idx="455">
                  <c:v>7.0069999999999993E-2</c:v>
                </c:pt>
                <c:pt idx="456">
                  <c:v>7.0430000000000006E-2</c:v>
                </c:pt>
                <c:pt idx="457">
                  <c:v>7.0879999999999999E-2</c:v>
                </c:pt>
                <c:pt idx="458">
                  <c:v>6.9989999999999997E-2</c:v>
                </c:pt>
                <c:pt idx="459">
                  <c:v>6.9900000000000004E-2</c:v>
                </c:pt>
                <c:pt idx="460">
                  <c:v>7.1070000000000008E-2</c:v>
                </c:pt>
                <c:pt idx="461">
                  <c:v>7.0980000000000001E-2</c:v>
                </c:pt>
                <c:pt idx="462">
                  <c:v>7.0730000000000001E-2</c:v>
                </c:pt>
                <c:pt idx="463">
                  <c:v>7.0379999999999998E-2</c:v>
                </c:pt>
                <c:pt idx="464">
                  <c:v>7.0359999999999992E-2</c:v>
                </c:pt>
                <c:pt idx="465">
                  <c:v>6.9010000000000002E-2</c:v>
                </c:pt>
                <c:pt idx="466">
                  <c:v>6.9500000000000006E-2</c:v>
                </c:pt>
                <c:pt idx="467">
                  <c:v>6.7990000000000009E-2</c:v>
                </c:pt>
                <c:pt idx="468">
                  <c:v>6.7049999999999998E-2</c:v>
                </c:pt>
                <c:pt idx="469">
                  <c:v>6.7930000000000004E-2</c:v>
                </c:pt>
                <c:pt idx="470">
                  <c:v>6.7750000000000005E-2</c:v>
                </c:pt>
                <c:pt idx="471">
                  <c:v>6.7560000000000009E-2</c:v>
                </c:pt>
                <c:pt idx="472">
                  <c:v>6.7330000000000001E-2</c:v>
                </c:pt>
                <c:pt idx="473">
                  <c:v>6.7119999999999999E-2</c:v>
                </c:pt>
                <c:pt idx="474">
                  <c:v>6.6989999999999994E-2</c:v>
                </c:pt>
                <c:pt idx="475">
                  <c:v>6.6890000000000005E-2</c:v>
                </c:pt>
                <c:pt idx="476">
                  <c:v>6.6659999999999997E-2</c:v>
                </c:pt>
                <c:pt idx="477">
                  <c:v>6.6180000000000003E-2</c:v>
                </c:pt>
                <c:pt idx="478">
                  <c:v>6.447E-2</c:v>
                </c:pt>
                <c:pt idx="479">
                  <c:v>6.3869999999999996E-2</c:v>
                </c:pt>
                <c:pt idx="480">
                  <c:v>6.2530000000000002E-2</c:v>
                </c:pt>
                <c:pt idx="481">
                  <c:v>6.2460000000000002E-2</c:v>
                </c:pt>
                <c:pt idx="482">
                  <c:v>6.2030000000000002E-2</c:v>
                </c:pt>
                <c:pt idx="483">
                  <c:v>6.1749999999999999E-2</c:v>
                </c:pt>
                <c:pt idx="484">
                  <c:v>6.1760000000000002E-2</c:v>
                </c:pt>
                <c:pt idx="485">
                  <c:v>6.1669999999999996E-2</c:v>
                </c:pt>
                <c:pt idx="486">
                  <c:v>6.055E-2</c:v>
                </c:pt>
                <c:pt idx="487">
                  <c:v>6.0769999999999998E-2</c:v>
                </c:pt>
                <c:pt idx="488">
                  <c:v>6.0909999999999999E-2</c:v>
                </c:pt>
                <c:pt idx="489">
                  <c:v>6.1749999999999999E-2</c:v>
                </c:pt>
                <c:pt idx="490">
                  <c:v>6.2370000000000002E-2</c:v>
                </c:pt>
                <c:pt idx="491">
                  <c:v>6.3259999999999997E-2</c:v>
                </c:pt>
                <c:pt idx="492">
                  <c:v>6.3060000000000005E-2</c:v>
                </c:pt>
                <c:pt idx="493">
                  <c:v>6.2920000000000004E-2</c:v>
                </c:pt>
                <c:pt idx="494">
                  <c:v>6.3240000000000005E-2</c:v>
                </c:pt>
                <c:pt idx="495">
                  <c:v>6.368E-2</c:v>
                </c:pt>
                <c:pt idx="496">
                  <c:v>6.3619999999999996E-2</c:v>
                </c:pt>
                <c:pt idx="497">
                  <c:v>6.3490000000000005E-2</c:v>
                </c:pt>
                <c:pt idx="498">
                  <c:v>6.3810000000000006E-2</c:v>
                </c:pt>
                <c:pt idx="499">
                  <c:v>6.318E-2</c:v>
                </c:pt>
                <c:pt idx="500">
                  <c:v>6.3410000000000008E-2</c:v>
                </c:pt>
                <c:pt idx="501">
                  <c:v>6.3899999999999998E-2</c:v>
                </c:pt>
                <c:pt idx="502">
                  <c:v>6.3099999999999989E-2</c:v>
                </c:pt>
                <c:pt idx="503">
                  <c:v>6.293E-2</c:v>
                </c:pt>
                <c:pt idx="504">
                  <c:v>6.3479999999999995E-2</c:v>
                </c:pt>
                <c:pt idx="505">
                  <c:v>6.3619999999999996E-2</c:v>
                </c:pt>
                <c:pt idx="506">
                  <c:v>6.3490000000000005E-2</c:v>
                </c:pt>
                <c:pt idx="507">
                  <c:v>6.3820000000000002E-2</c:v>
                </c:pt>
                <c:pt idx="508">
                  <c:v>6.4119999999999996E-2</c:v>
                </c:pt>
                <c:pt idx="509">
                  <c:v>6.3120000000000009E-2</c:v>
                </c:pt>
                <c:pt idx="510">
                  <c:v>6.2880000000000005E-2</c:v>
                </c:pt>
                <c:pt idx="511">
                  <c:v>6.318E-2</c:v>
                </c:pt>
                <c:pt idx="512">
                  <c:v>6.3060000000000005E-2</c:v>
                </c:pt>
                <c:pt idx="513">
                  <c:v>6.2659999999999993E-2</c:v>
                </c:pt>
                <c:pt idx="514">
                  <c:v>6.2780000000000002E-2</c:v>
                </c:pt>
                <c:pt idx="515">
                  <c:v>6.2880000000000005E-2</c:v>
                </c:pt>
                <c:pt idx="516">
                  <c:v>6.2920000000000004E-2</c:v>
                </c:pt>
                <c:pt idx="517">
                  <c:v>6.3099999999999989E-2</c:v>
                </c:pt>
                <c:pt idx="518">
                  <c:v>6.2899999999999998E-2</c:v>
                </c:pt>
                <c:pt idx="519">
                  <c:v>6.2460000000000002E-2</c:v>
                </c:pt>
                <c:pt idx="520">
                  <c:v>6.1500000000000006E-2</c:v>
                </c:pt>
                <c:pt idx="521">
                  <c:v>6.225E-2</c:v>
                </c:pt>
                <c:pt idx="522">
                  <c:v>6.2939999999999996E-2</c:v>
                </c:pt>
                <c:pt idx="523">
                  <c:v>6.2710000000000002E-2</c:v>
                </c:pt>
                <c:pt idx="524">
                  <c:v>6.2939999999999996E-2</c:v>
                </c:pt>
                <c:pt idx="525">
                  <c:v>6.2880000000000005E-2</c:v>
                </c:pt>
                <c:pt idx="526">
                  <c:v>6.3920000000000005E-2</c:v>
                </c:pt>
                <c:pt idx="527">
                  <c:v>6.454E-2</c:v>
                </c:pt>
                <c:pt idx="528">
                  <c:v>6.5060000000000007E-2</c:v>
                </c:pt>
                <c:pt idx="529">
                  <c:v>6.5380000000000008E-2</c:v>
                </c:pt>
                <c:pt idx="530">
                  <c:v>6.6229999999999997E-2</c:v>
                </c:pt>
                <c:pt idx="531">
                  <c:v>6.6559999999999994E-2</c:v>
                </c:pt>
                <c:pt idx="532">
                  <c:v>6.7430000000000004E-2</c:v>
                </c:pt>
                <c:pt idx="533">
                  <c:v>6.7709999999999992E-2</c:v>
                </c:pt>
                <c:pt idx="534">
                  <c:v>6.7510000000000001E-2</c:v>
                </c:pt>
                <c:pt idx="535">
                  <c:v>6.8229999999999999E-2</c:v>
                </c:pt>
                <c:pt idx="536">
                  <c:v>6.8260000000000001E-2</c:v>
                </c:pt>
                <c:pt idx="537">
                  <c:v>6.8819999999999992E-2</c:v>
                </c:pt>
                <c:pt idx="538">
                  <c:v>7.0620000000000002E-2</c:v>
                </c:pt>
                <c:pt idx="539">
                  <c:v>7.1910000000000002E-2</c:v>
                </c:pt>
                <c:pt idx="540">
                  <c:v>7.0830000000000004E-2</c:v>
                </c:pt>
                <c:pt idx="541">
                  <c:v>6.9449999999999998E-2</c:v>
                </c:pt>
                <c:pt idx="542">
                  <c:v>6.9739999999999996E-2</c:v>
                </c:pt>
                <c:pt idx="543">
                  <c:v>6.9589999999999999E-2</c:v>
                </c:pt>
                <c:pt idx="544">
                  <c:v>6.9960000000000008E-2</c:v>
                </c:pt>
                <c:pt idx="545">
                  <c:v>6.8959999999999994E-2</c:v>
                </c:pt>
                <c:pt idx="546">
                  <c:v>6.8949999999999997E-2</c:v>
                </c:pt>
                <c:pt idx="547">
                  <c:v>6.8879999999999997E-2</c:v>
                </c:pt>
                <c:pt idx="548">
                  <c:v>6.863000000000001E-2</c:v>
                </c:pt>
                <c:pt idx="549">
                  <c:v>6.8239999999999995E-2</c:v>
                </c:pt>
                <c:pt idx="550">
                  <c:v>6.701E-2</c:v>
                </c:pt>
                <c:pt idx="551">
                  <c:v>6.7400000000000002E-2</c:v>
                </c:pt>
                <c:pt idx="552">
                  <c:v>6.7320000000000005E-2</c:v>
                </c:pt>
                <c:pt idx="553">
                  <c:v>6.6909999999999997E-2</c:v>
                </c:pt>
                <c:pt idx="554">
                  <c:v>6.6349999999999992E-2</c:v>
                </c:pt>
                <c:pt idx="555">
                  <c:v>6.5930000000000002E-2</c:v>
                </c:pt>
                <c:pt idx="556">
                  <c:v>6.6290000000000002E-2</c:v>
                </c:pt>
                <c:pt idx="557">
                  <c:v>6.651E-2</c:v>
                </c:pt>
                <c:pt idx="558">
                  <c:v>6.6180000000000003E-2</c:v>
                </c:pt>
                <c:pt idx="559">
                  <c:v>6.5709999999999991E-2</c:v>
                </c:pt>
                <c:pt idx="560">
                  <c:v>6.5229999999999996E-2</c:v>
                </c:pt>
                <c:pt idx="561">
                  <c:v>6.4149999999999999E-2</c:v>
                </c:pt>
                <c:pt idx="562">
                  <c:v>6.2800000000000009E-2</c:v>
                </c:pt>
                <c:pt idx="563">
                  <c:v>6.2019999999999999E-2</c:v>
                </c:pt>
                <c:pt idx="564">
                  <c:v>6.2080000000000003E-2</c:v>
                </c:pt>
                <c:pt idx="565">
                  <c:v>6.2649999999999997E-2</c:v>
                </c:pt>
                <c:pt idx="566">
                  <c:v>6.2710000000000002E-2</c:v>
                </c:pt>
                <c:pt idx="567">
                  <c:v>6.2469999999999998E-2</c:v>
                </c:pt>
                <c:pt idx="568">
                  <c:v>6.2439999999999996E-2</c:v>
                </c:pt>
                <c:pt idx="569">
                  <c:v>6.2609999999999999E-2</c:v>
                </c:pt>
                <c:pt idx="570">
                  <c:v>6.3140000000000002E-2</c:v>
                </c:pt>
                <c:pt idx="571">
                  <c:v>6.2939999999999996E-2</c:v>
                </c:pt>
                <c:pt idx="572">
                  <c:v>6.3170000000000004E-2</c:v>
                </c:pt>
                <c:pt idx="573">
                  <c:v>6.2880000000000005E-2</c:v>
                </c:pt>
                <c:pt idx="574">
                  <c:v>6.3009999999999997E-2</c:v>
                </c:pt>
                <c:pt idx="575">
                  <c:v>6.2699999999999992E-2</c:v>
                </c:pt>
                <c:pt idx="576">
                  <c:v>6.2400000000000004E-2</c:v>
                </c:pt>
                <c:pt idx="577">
                  <c:v>6.2640000000000001E-2</c:v>
                </c:pt>
                <c:pt idx="578">
                  <c:v>6.2869999999999995E-2</c:v>
                </c:pt>
                <c:pt idx="579">
                  <c:v>6.2570000000000001E-2</c:v>
                </c:pt>
                <c:pt idx="580">
                  <c:v>6.3170000000000004E-2</c:v>
                </c:pt>
                <c:pt idx="581">
                  <c:v>6.2740000000000004E-2</c:v>
                </c:pt>
                <c:pt idx="582">
                  <c:v>6.2710000000000002E-2</c:v>
                </c:pt>
                <c:pt idx="583">
                  <c:v>6.2689999999999996E-2</c:v>
                </c:pt>
                <c:pt idx="584">
                  <c:v>6.3310000000000005E-2</c:v>
                </c:pt>
                <c:pt idx="585">
                  <c:v>6.361E-2</c:v>
                </c:pt>
                <c:pt idx="586">
                  <c:v>6.3820000000000002E-2</c:v>
                </c:pt>
                <c:pt idx="587">
                  <c:v>6.3410000000000008E-2</c:v>
                </c:pt>
                <c:pt idx="588">
                  <c:v>6.3039999999999999E-2</c:v>
                </c:pt>
                <c:pt idx="589">
                  <c:v>6.3109999999999999E-2</c:v>
                </c:pt>
                <c:pt idx="590">
                  <c:v>6.3329999999999997E-2</c:v>
                </c:pt>
                <c:pt idx="591">
                  <c:v>6.3500000000000001E-2</c:v>
                </c:pt>
                <c:pt idx="592">
                  <c:v>6.343E-2</c:v>
                </c:pt>
                <c:pt idx="593">
                  <c:v>6.3649999999999998E-2</c:v>
                </c:pt>
                <c:pt idx="594">
                  <c:v>6.3730000000000009E-2</c:v>
                </c:pt>
                <c:pt idx="595">
                  <c:v>6.3769999999999993E-2</c:v>
                </c:pt>
                <c:pt idx="596">
                  <c:v>6.3789999999999999E-2</c:v>
                </c:pt>
                <c:pt idx="597">
                  <c:v>6.3850000000000004E-2</c:v>
                </c:pt>
                <c:pt idx="598">
                  <c:v>6.4020000000000007E-2</c:v>
                </c:pt>
                <c:pt idx="599">
                  <c:v>6.402999999999999E-2</c:v>
                </c:pt>
                <c:pt idx="600">
                  <c:v>6.3329999999999997E-2</c:v>
                </c:pt>
                <c:pt idx="601">
                  <c:v>6.3269999999999993E-2</c:v>
                </c:pt>
                <c:pt idx="602">
                  <c:v>6.3289999999999999E-2</c:v>
                </c:pt>
                <c:pt idx="603">
                  <c:v>6.3490000000000005E-2</c:v>
                </c:pt>
                <c:pt idx="604">
                  <c:v>6.343E-2</c:v>
                </c:pt>
                <c:pt idx="605">
                  <c:v>6.3390000000000002E-2</c:v>
                </c:pt>
                <c:pt idx="606">
                  <c:v>6.361E-2</c:v>
                </c:pt>
                <c:pt idx="607">
                  <c:v>6.3659999999999994E-2</c:v>
                </c:pt>
                <c:pt idx="608">
                  <c:v>6.386E-2</c:v>
                </c:pt>
                <c:pt idx="609">
                  <c:v>6.3829999999999998E-2</c:v>
                </c:pt>
                <c:pt idx="610">
                  <c:v>6.3550000000000009E-2</c:v>
                </c:pt>
                <c:pt idx="611">
                  <c:v>6.3560000000000005E-2</c:v>
                </c:pt>
                <c:pt idx="612">
                  <c:v>6.3399999999999998E-2</c:v>
                </c:pt>
                <c:pt idx="613">
                  <c:v>6.3299999999999995E-2</c:v>
                </c:pt>
                <c:pt idx="614">
                  <c:v>6.2859999999999999E-2</c:v>
                </c:pt>
                <c:pt idx="615">
                  <c:v>6.2880000000000005E-2</c:v>
                </c:pt>
                <c:pt idx="616">
                  <c:v>6.2740000000000004E-2</c:v>
                </c:pt>
                <c:pt idx="617">
                  <c:v>6.2420000000000003E-2</c:v>
                </c:pt>
                <c:pt idx="618">
                  <c:v>6.2260000000000003E-2</c:v>
                </c:pt>
                <c:pt idx="619">
                  <c:v>6.25E-2</c:v>
                </c:pt>
                <c:pt idx="620">
                  <c:v>6.251000000000001E-2</c:v>
                </c:pt>
                <c:pt idx="621">
                  <c:v>6.3259999999999997E-2</c:v>
                </c:pt>
                <c:pt idx="622">
                  <c:v>6.3149999999999998E-2</c:v>
                </c:pt>
                <c:pt idx="623">
                  <c:v>6.3170000000000004E-2</c:v>
                </c:pt>
                <c:pt idx="624">
                  <c:v>6.3439999999999996E-2</c:v>
                </c:pt>
                <c:pt idx="625">
                  <c:v>6.4860000000000001E-2</c:v>
                </c:pt>
                <c:pt idx="626">
                  <c:v>6.5140000000000003E-2</c:v>
                </c:pt>
                <c:pt idx="627">
                  <c:v>6.5110000000000001E-2</c:v>
                </c:pt>
                <c:pt idx="628">
                  <c:v>6.480000000000001E-2</c:v>
                </c:pt>
                <c:pt idx="629">
                  <c:v>6.3869999999999996E-2</c:v>
                </c:pt>
                <c:pt idx="630">
                  <c:v>6.336E-2</c:v>
                </c:pt>
                <c:pt idx="631">
                  <c:v>6.3399999999999998E-2</c:v>
                </c:pt>
                <c:pt idx="632">
                  <c:v>6.3390000000000002E-2</c:v>
                </c:pt>
                <c:pt idx="633">
                  <c:v>6.3049999999999995E-2</c:v>
                </c:pt>
                <c:pt idx="634">
                  <c:v>6.3019999999999993E-2</c:v>
                </c:pt>
                <c:pt idx="635">
                  <c:v>6.3750000000000001E-2</c:v>
                </c:pt>
                <c:pt idx="636">
                  <c:v>6.3589999999999994E-2</c:v>
                </c:pt>
                <c:pt idx="637">
                  <c:v>6.3570000000000002E-2</c:v>
                </c:pt>
                <c:pt idx="638">
                  <c:v>6.368E-2</c:v>
                </c:pt>
                <c:pt idx="639">
                  <c:v>6.3310000000000005E-2</c:v>
                </c:pt>
                <c:pt idx="640">
                  <c:v>6.3619999999999996E-2</c:v>
                </c:pt>
                <c:pt idx="641">
                  <c:v>6.3649999999999998E-2</c:v>
                </c:pt>
                <c:pt idx="642">
                  <c:v>6.3159999999999994E-2</c:v>
                </c:pt>
                <c:pt idx="643">
                  <c:v>6.3560000000000005E-2</c:v>
                </c:pt>
                <c:pt idx="644">
                  <c:v>6.3899999999999998E-2</c:v>
                </c:pt>
                <c:pt idx="645">
                  <c:v>6.4689999999999998E-2</c:v>
                </c:pt>
                <c:pt idx="646">
                  <c:v>6.3960000000000003E-2</c:v>
                </c:pt>
                <c:pt idx="647">
                  <c:v>6.4259999999999998E-2</c:v>
                </c:pt>
                <c:pt idx="648">
                  <c:v>6.3799999999999996E-2</c:v>
                </c:pt>
                <c:pt idx="649">
                  <c:v>6.3670000000000004E-2</c:v>
                </c:pt>
                <c:pt idx="650">
                  <c:v>6.3500000000000001E-2</c:v>
                </c:pt>
                <c:pt idx="651">
                  <c:v>6.3990000000000005E-2</c:v>
                </c:pt>
                <c:pt idx="652">
                  <c:v>6.3930000000000001E-2</c:v>
                </c:pt>
                <c:pt idx="653">
                  <c:v>6.4710000000000004E-2</c:v>
                </c:pt>
                <c:pt idx="654">
                  <c:v>6.5099999999999991E-2</c:v>
                </c:pt>
                <c:pt idx="655">
                  <c:v>6.5700000000000008E-2</c:v>
                </c:pt>
                <c:pt idx="656">
                  <c:v>6.5560000000000007E-2</c:v>
                </c:pt>
                <c:pt idx="657">
                  <c:v>6.6110000000000002E-2</c:v>
                </c:pt>
                <c:pt idx="658">
                  <c:v>6.5670000000000006E-2</c:v>
                </c:pt>
                <c:pt idx="659">
                  <c:v>6.4340000000000008E-2</c:v>
                </c:pt>
                <c:pt idx="660">
                  <c:v>6.4130000000000006E-2</c:v>
                </c:pt>
                <c:pt idx="661">
                  <c:v>6.4349999999999991E-2</c:v>
                </c:pt>
                <c:pt idx="662">
                  <c:v>6.4059999999999992E-2</c:v>
                </c:pt>
                <c:pt idx="663">
                  <c:v>6.3329999999999997E-2</c:v>
                </c:pt>
                <c:pt idx="664">
                  <c:v>6.3259999999999997E-2</c:v>
                </c:pt>
                <c:pt idx="665">
                  <c:v>6.3030000000000003E-2</c:v>
                </c:pt>
                <c:pt idx="666">
                  <c:v>6.3380000000000006E-2</c:v>
                </c:pt>
                <c:pt idx="667">
                  <c:v>6.3670000000000004E-2</c:v>
                </c:pt>
                <c:pt idx="668">
                  <c:v>6.3879999999999992E-2</c:v>
                </c:pt>
                <c:pt idx="669">
                  <c:v>6.3820000000000002E-2</c:v>
                </c:pt>
                <c:pt idx="670">
                  <c:v>6.3899999999999998E-2</c:v>
                </c:pt>
                <c:pt idx="671">
                  <c:v>6.4310000000000006E-2</c:v>
                </c:pt>
                <c:pt idx="672">
                  <c:v>6.4369999999999997E-2</c:v>
                </c:pt>
                <c:pt idx="673">
                  <c:v>6.4379999999999993E-2</c:v>
                </c:pt>
                <c:pt idx="674">
                  <c:v>6.4229999999999995E-2</c:v>
                </c:pt>
                <c:pt idx="675">
                  <c:v>6.429E-2</c:v>
                </c:pt>
                <c:pt idx="676">
                  <c:v>6.4119999999999996E-2</c:v>
                </c:pt>
                <c:pt idx="677">
                  <c:v>6.4269999999999994E-2</c:v>
                </c:pt>
                <c:pt idx="678">
                  <c:v>6.4049999999999996E-2</c:v>
                </c:pt>
                <c:pt idx="679">
                  <c:v>6.4699999999999994E-2</c:v>
                </c:pt>
                <c:pt idx="680">
                  <c:v>6.4630000000000007E-2</c:v>
                </c:pt>
                <c:pt idx="681">
                  <c:v>6.5159999999999996E-2</c:v>
                </c:pt>
                <c:pt idx="682">
                  <c:v>6.5110000000000001E-2</c:v>
                </c:pt>
                <c:pt idx="683">
                  <c:v>6.5110000000000001E-2</c:v>
                </c:pt>
                <c:pt idx="684">
                  <c:v>6.5320000000000003E-2</c:v>
                </c:pt>
                <c:pt idx="685">
                  <c:v>6.4880000000000007E-2</c:v>
                </c:pt>
                <c:pt idx="686">
                  <c:v>6.5570000000000003E-2</c:v>
                </c:pt>
                <c:pt idx="687">
                  <c:v>6.6489999999999994E-2</c:v>
                </c:pt>
                <c:pt idx="688">
                  <c:v>6.6639999999999991E-2</c:v>
                </c:pt>
                <c:pt idx="689">
                  <c:v>6.6689999999999999E-2</c:v>
                </c:pt>
                <c:pt idx="690">
                  <c:v>6.692999999999999E-2</c:v>
                </c:pt>
                <c:pt idx="691">
                  <c:v>6.6049999999999998E-2</c:v>
                </c:pt>
                <c:pt idx="692">
                  <c:v>6.5079999999999999E-2</c:v>
                </c:pt>
                <c:pt idx="693">
                  <c:v>6.5269999999999995E-2</c:v>
                </c:pt>
                <c:pt idx="694">
                  <c:v>6.497E-2</c:v>
                </c:pt>
                <c:pt idx="695">
                  <c:v>6.5439999999999998E-2</c:v>
                </c:pt>
                <c:pt idx="696">
                  <c:v>6.5619999999999998E-2</c:v>
                </c:pt>
                <c:pt idx="697">
                  <c:v>6.5939999999999999E-2</c:v>
                </c:pt>
                <c:pt idx="698">
                  <c:v>6.6130000000000008E-2</c:v>
                </c:pt>
                <c:pt idx="699">
                  <c:v>6.6130000000000008E-2</c:v>
                </c:pt>
                <c:pt idx="700">
                  <c:v>6.5990000000000007E-2</c:v>
                </c:pt>
                <c:pt idx="701">
                  <c:v>6.5879999999999994E-2</c:v>
                </c:pt>
                <c:pt idx="702">
                  <c:v>6.6239999999999993E-2</c:v>
                </c:pt>
                <c:pt idx="703">
                  <c:v>6.6140000000000004E-2</c:v>
                </c:pt>
                <c:pt idx="704">
                  <c:v>6.6360000000000002E-2</c:v>
                </c:pt>
                <c:pt idx="705">
                  <c:v>6.6610000000000003E-2</c:v>
                </c:pt>
                <c:pt idx="706">
                  <c:v>6.6630000000000009E-2</c:v>
                </c:pt>
                <c:pt idx="707">
                  <c:v>6.6500000000000004E-2</c:v>
                </c:pt>
                <c:pt idx="708">
                  <c:v>6.5390000000000004E-2</c:v>
                </c:pt>
                <c:pt idx="709">
                  <c:v>6.4079999999999998E-2</c:v>
                </c:pt>
                <c:pt idx="710">
                  <c:v>6.4610000000000001E-2</c:v>
                </c:pt>
              </c:numCache>
            </c:numRef>
          </c:val>
          <c:smooth val="0"/>
          <c:extLst>
            <c:ext xmlns:c16="http://schemas.microsoft.com/office/drawing/2014/chart" uri="{C3380CC4-5D6E-409C-BE32-E72D297353CC}">
              <c16:uniqueId val="{00000001-1676-3944-A23C-181D9DC63D66}"/>
            </c:ext>
          </c:extLst>
        </c:ser>
        <c:dLbls>
          <c:showLegendKey val="0"/>
          <c:showVal val="0"/>
          <c:showCatName val="0"/>
          <c:showSerName val="0"/>
          <c:showPercent val="0"/>
          <c:showBubbleSize val="0"/>
        </c:dLbls>
        <c:smooth val="0"/>
        <c:axId val="671106736"/>
        <c:axId val="671108416"/>
      </c:lineChart>
      <c:dateAx>
        <c:axId val="671106736"/>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8416"/>
        <c:crosses val="autoZero"/>
        <c:auto val="1"/>
        <c:lblOffset val="100"/>
        <c:baseTimeUnit val="days"/>
        <c:majorUnit val="3"/>
        <c:majorTimeUnit val="months"/>
      </c:dateAx>
      <c:valAx>
        <c:axId val="671108416"/>
        <c:scaling>
          <c:orientation val="minMax"/>
          <c:min val="0.03"/>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6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15366725528814E-2"/>
          <c:y val="4.3276511549743574E-2"/>
          <c:w val="0.92769132171496405"/>
          <c:h val="0.85357620693571956"/>
        </c:manualLayout>
      </c:layout>
      <c:barChart>
        <c:barDir val="col"/>
        <c:grouping val="stacked"/>
        <c:varyColors val="0"/>
        <c:ser>
          <c:idx val="0"/>
          <c:order val="0"/>
          <c:tx>
            <c:strRef>
              <c:f>Hoja1!$B$1</c:f>
              <c:strCache>
                <c:ptCount val="1"/>
                <c:pt idx="0">
                  <c:v>PEMEX</c:v>
                </c:pt>
              </c:strCache>
            </c:strRef>
          </c:tx>
          <c:spPr>
            <a:solidFill>
              <a:schemeClr val="accent1"/>
            </a:solidFill>
            <a:ln>
              <a:noFill/>
            </a:ln>
            <a:effectLst/>
          </c:spPr>
          <c:invertIfNegative val="0"/>
          <c:cat>
            <c:strRef>
              <c:f>Hoja1!$A$2:$A$8</c:f>
              <c:strCache>
                <c:ptCount val="7"/>
                <c:pt idx="0">
                  <c:v>2017</c:v>
                </c:pt>
                <c:pt idx="1">
                  <c:v>2018</c:v>
                </c:pt>
                <c:pt idx="2">
                  <c:v>2019</c:v>
                </c:pt>
                <c:pt idx="3">
                  <c:v>2020</c:v>
                </c:pt>
                <c:pt idx="4">
                  <c:v>2021</c:v>
                </c:pt>
                <c:pt idx="5">
                  <c:v>2022</c:v>
                </c:pt>
                <c:pt idx="6">
                  <c:v>2023</c:v>
                </c:pt>
              </c:strCache>
            </c:strRef>
          </c:cat>
          <c:val>
            <c:numRef>
              <c:f>Hoja1!$B$2:$B$8</c:f>
              <c:numCache>
                <c:formatCode>"$"#,##0.00_);[Red]\("$"#,##0.00\)</c:formatCode>
                <c:ptCount val="7"/>
                <c:pt idx="0">
                  <c:v>22198.4915</c:v>
                </c:pt>
                <c:pt idx="1">
                  <c:v>31527.139200000001</c:v>
                </c:pt>
                <c:pt idx="2">
                  <c:v>29965.154218119998</c:v>
                </c:pt>
                <c:pt idx="3">
                  <c:v>40550.536</c:v>
                </c:pt>
                <c:pt idx="4">
                  <c:v>13627.134</c:v>
                </c:pt>
                <c:pt idx="5">
                  <c:v>15544.428712000001</c:v>
                </c:pt>
                <c:pt idx="6">
                  <c:v>5972.6629999999996</c:v>
                </c:pt>
              </c:numCache>
            </c:numRef>
          </c:val>
          <c:extLst>
            <c:ext xmlns:c16="http://schemas.microsoft.com/office/drawing/2014/chart" uri="{C3380CC4-5D6E-409C-BE32-E72D297353CC}">
              <c16:uniqueId val="{00000000-EF21-684C-8F47-470F32FBF1FC}"/>
            </c:ext>
          </c:extLst>
        </c:ser>
        <c:ser>
          <c:idx val="1"/>
          <c:order val="1"/>
          <c:tx>
            <c:strRef>
              <c:f>Hoja1!$C$1</c:f>
              <c:strCache>
                <c:ptCount val="1"/>
                <c:pt idx="0">
                  <c:v>Petrobras</c:v>
                </c:pt>
              </c:strCache>
            </c:strRef>
          </c:tx>
          <c:spPr>
            <a:solidFill>
              <a:srgbClr val="9FBE60"/>
            </a:solidFill>
            <a:ln>
              <a:noFill/>
            </a:ln>
            <a:effectLst/>
          </c:spPr>
          <c:invertIfNegative val="0"/>
          <c:cat>
            <c:strRef>
              <c:f>Hoja1!$A$2:$A$8</c:f>
              <c:strCache>
                <c:ptCount val="7"/>
                <c:pt idx="0">
                  <c:v>2017</c:v>
                </c:pt>
                <c:pt idx="1">
                  <c:v>2018</c:v>
                </c:pt>
                <c:pt idx="2">
                  <c:v>2019</c:v>
                </c:pt>
                <c:pt idx="3">
                  <c:v>2020</c:v>
                </c:pt>
                <c:pt idx="4">
                  <c:v>2021</c:v>
                </c:pt>
                <c:pt idx="5">
                  <c:v>2022</c:v>
                </c:pt>
                <c:pt idx="6">
                  <c:v>2023</c:v>
                </c:pt>
              </c:strCache>
            </c:strRef>
          </c:cat>
          <c:val>
            <c:numRef>
              <c:f>Hoja1!$C$2:$C$8</c:f>
              <c:numCache>
                <c:formatCode>"$"#,##0.00_);[Red]\("$"#,##0.00\)</c:formatCode>
                <c:ptCount val="7"/>
                <c:pt idx="0">
                  <c:v>23612.704016216001</c:v>
                </c:pt>
                <c:pt idx="1">
                  <c:v>11658.879000000001</c:v>
                </c:pt>
                <c:pt idx="2">
                  <c:v>12182.130400348999</c:v>
                </c:pt>
                <c:pt idx="3">
                  <c:v>8287.6810000000005</c:v>
                </c:pt>
                <c:pt idx="4">
                  <c:v>1500</c:v>
                </c:pt>
                <c:pt idx="5">
                  <c:v>0</c:v>
                </c:pt>
                <c:pt idx="6">
                  <c:v>1250</c:v>
                </c:pt>
              </c:numCache>
            </c:numRef>
          </c:val>
          <c:extLst>
            <c:ext xmlns:c16="http://schemas.microsoft.com/office/drawing/2014/chart" uri="{C3380CC4-5D6E-409C-BE32-E72D297353CC}">
              <c16:uniqueId val="{00000000-1676-3944-A23C-181D9DC63D66}"/>
            </c:ext>
          </c:extLst>
        </c:ser>
        <c:ser>
          <c:idx val="2"/>
          <c:order val="2"/>
          <c:tx>
            <c:strRef>
              <c:f>Hoja1!$D$1</c:f>
              <c:strCache>
                <c:ptCount val="1"/>
                <c:pt idx="0">
                  <c:v>Ecopetrol</c:v>
                </c:pt>
              </c:strCache>
            </c:strRef>
          </c:tx>
          <c:spPr>
            <a:solidFill>
              <a:srgbClr val="FCD235"/>
            </a:solidFill>
            <a:ln>
              <a:noFill/>
            </a:ln>
            <a:effectLst/>
          </c:spPr>
          <c:invertIfNegative val="0"/>
          <c:cat>
            <c:strRef>
              <c:f>Hoja1!$A$2:$A$8</c:f>
              <c:strCache>
                <c:ptCount val="7"/>
                <c:pt idx="0">
                  <c:v>2017</c:v>
                </c:pt>
                <c:pt idx="1">
                  <c:v>2018</c:v>
                </c:pt>
                <c:pt idx="2">
                  <c:v>2019</c:v>
                </c:pt>
                <c:pt idx="3">
                  <c:v>2020</c:v>
                </c:pt>
                <c:pt idx="4">
                  <c:v>2021</c:v>
                </c:pt>
                <c:pt idx="5">
                  <c:v>2022</c:v>
                </c:pt>
                <c:pt idx="6">
                  <c:v>2023</c:v>
                </c:pt>
              </c:strCache>
            </c:strRef>
          </c:cat>
          <c:val>
            <c:numRef>
              <c:f>Hoja1!$D$2:$D$8</c:f>
              <c:numCache>
                <c:formatCode>"$"#,##0.00_);[Red]\("$"#,##0.00\)</c:formatCode>
                <c:ptCount val="7"/>
                <c:pt idx="0">
                  <c:v>0</c:v>
                </c:pt>
                <c:pt idx="1">
                  <c:v>0</c:v>
                </c:pt>
                <c:pt idx="2">
                  <c:v>0</c:v>
                </c:pt>
                <c:pt idx="3">
                  <c:v>2000</c:v>
                </c:pt>
                <c:pt idx="4">
                  <c:v>2000</c:v>
                </c:pt>
                <c:pt idx="5">
                  <c:v>0</c:v>
                </c:pt>
                <c:pt idx="6">
                  <c:v>3500</c:v>
                </c:pt>
              </c:numCache>
            </c:numRef>
          </c:val>
          <c:extLst>
            <c:ext xmlns:c16="http://schemas.microsoft.com/office/drawing/2014/chart" uri="{C3380CC4-5D6E-409C-BE32-E72D297353CC}">
              <c16:uniqueId val="{00000001-1676-3944-A23C-181D9DC63D66}"/>
            </c:ext>
          </c:extLst>
        </c:ser>
        <c:ser>
          <c:idx val="3"/>
          <c:order val="3"/>
          <c:tx>
            <c:strRef>
              <c:f>Hoja1!$E$1</c:f>
              <c:strCache>
                <c:ptCount val="1"/>
                <c:pt idx="0">
                  <c:v>YPF</c:v>
                </c:pt>
              </c:strCache>
            </c:strRef>
          </c:tx>
          <c:spPr>
            <a:solidFill>
              <a:srgbClr val="0070C0"/>
            </a:solidFill>
            <a:ln>
              <a:noFill/>
            </a:ln>
            <a:effectLst/>
          </c:spPr>
          <c:invertIfNegative val="0"/>
          <c:cat>
            <c:strRef>
              <c:f>Hoja1!$A$2:$A$8</c:f>
              <c:strCache>
                <c:ptCount val="7"/>
                <c:pt idx="0">
                  <c:v>2017</c:v>
                </c:pt>
                <c:pt idx="1">
                  <c:v>2018</c:v>
                </c:pt>
                <c:pt idx="2">
                  <c:v>2019</c:v>
                </c:pt>
                <c:pt idx="3">
                  <c:v>2020</c:v>
                </c:pt>
                <c:pt idx="4">
                  <c:v>2021</c:v>
                </c:pt>
                <c:pt idx="5">
                  <c:v>2022</c:v>
                </c:pt>
                <c:pt idx="6">
                  <c:v>2023</c:v>
                </c:pt>
              </c:strCache>
            </c:strRef>
          </c:cat>
          <c:val>
            <c:numRef>
              <c:f>Hoja1!$E$2:$E$8</c:f>
              <c:numCache>
                <c:formatCode>"$"#,##0.00_);[Red]\("$"#,##0.00\)</c:formatCode>
                <c:ptCount val="7"/>
                <c:pt idx="0">
                  <c:v>3500</c:v>
                </c:pt>
                <c:pt idx="1">
                  <c:v>0</c:v>
                </c:pt>
                <c:pt idx="2">
                  <c:v>1000</c:v>
                </c:pt>
                <c:pt idx="3">
                  <c:v>1228.867</c:v>
                </c:pt>
                <c:pt idx="4">
                  <c:v>4359.7526557880001</c:v>
                </c:pt>
                <c:pt idx="5">
                  <c:v>0</c:v>
                </c:pt>
                <c:pt idx="6">
                  <c:v>1137.0500295530001</c:v>
                </c:pt>
              </c:numCache>
            </c:numRef>
          </c:val>
          <c:extLst>
            <c:ext xmlns:c16="http://schemas.microsoft.com/office/drawing/2014/chart" uri="{C3380CC4-5D6E-409C-BE32-E72D297353CC}">
              <c16:uniqueId val="{00000000-3678-8742-8B54-C41ECD830709}"/>
            </c:ext>
          </c:extLst>
        </c:ser>
        <c:dLbls>
          <c:showLegendKey val="0"/>
          <c:showVal val="0"/>
          <c:showCatName val="0"/>
          <c:showSerName val="0"/>
          <c:showPercent val="0"/>
          <c:showBubbleSize val="0"/>
        </c:dLbls>
        <c:gapWidth val="150"/>
        <c:overlap val="100"/>
        <c:axId val="671106736"/>
        <c:axId val="671108416"/>
      </c:barChart>
      <c:catAx>
        <c:axId val="671106736"/>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8416"/>
        <c:crosses val="autoZero"/>
        <c:auto val="1"/>
        <c:lblAlgn val="ctr"/>
        <c:lblOffset val="100"/>
        <c:noMultiLvlLbl val="1"/>
      </c:catAx>
      <c:valAx>
        <c:axId val="671108416"/>
        <c:scaling>
          <c:orientation val="minMax"/>
          <c:min val="0.03"/>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6736"/>
        <c:crosses val="autoZero"/>
        <c:crossBetween val="between"/>
      </c:valAx>
      <c:spPr>
        <a:noFill/>
        <a:ln>
          <a:noFill/>
        </a:ln>
        <a:effectLst/>
      </c:spPr>
    </c:plotArea>
    <c:legend>
      <c:legendPos val="r"/>
      <c:layout>
        <c:manualLayout>
          <c:xMode val="edge"/>
          <c:yMode val="edge"/>
          <c:x val="0.76161410795700846"/>
          <c:y val="0.11437812864580139"/>
          <c:w val="0.12072099504164685"/>
          <c:h val="0.2914886862268560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YPF 9 29</c:v>
                </c:pt>
              </c:strCache>
            </c:strRef>
          </c:tx>
          <c:spPr>
            <a:ln w="28575" cap="rnd">
              <a:solidFill>
                <a:schemeClr val="tx2"/>
              </a:solidFill>
              <a:round/>
            </a:ln>
            <a:effectLst/>
          </c:spPr>
          <c:marker>
            <c:symbol val="none"/>
          </c:marker>
          <c:cat>
            <c:numRef>
              <c:f>Hoja1!$A$2:$A$683</c:f>
              <c:numCache>
                <c:formatCode>m/d/yy</c:formatCode>
                <c:ptCount val="682"/>
                <c:pt idx="0">
                  <c:v>44243</c:v>
                </c:pt>
                <c:pt idx="1">
                  <c:v>44244</c:v>
                </c:pt>
                <c:pt idx="2">
                  <c:v>44245</c:v>
                </c:pt>
                <c:pt idx="3">
                  <c:v>44246</c:v>
                </c:pt>
                <c:pt idx="4">
                  <c:v>44249</c:v>
                </c:pt>
                <c:pt idx="5">
                  <c:v>44250</c:v>
                </c:pt>
                <c:pt idx="6">
                  <c:v>44251</c:v>
                </c:pt>
                <c:pt idx="7">
                  <c:v>44252</c:v>
                </c:pt>
                <c:pt idx="8">
                  <c:v>44253</c:v>
                </c:pt>
                <c:pt idx="9">
                  <c:v>44256</c:v>
                </c:pt>
                <c:pt idx="10">
                  <c:v>44257</c:v>
                </c:pt>
                <c:pt idx="11">
                  <c:v>44258</c:v>
                </c:pt>
                <c:pt idx="12">
                  <c:v>44259</c:v>
                </c:pt>
                <c:pt idx="13">
                  <c:v>44260</c:v>
                </c:pt>
                <c:pt idx="14">
                  <c:v>44263</c:v>
                </c:pt>
                <c:pt idx="15">
                  <c:v>44264</c:v>
                </c:pt>
                <c:pt idx="16">
                  <c:v>44265</c:v>
                </c:pt>
                <c:pt idx="17">
                  <c:v>44266</c:v>
                </c:pt>
                <c:pt idx="18">
                  <c:v>44267</c:v>
                </c:pt>
                <c:pt idx="19">
                  <c:v>44270</c:v>
                </c:pt>
                <c:pt idx="20">
                  <c:v>44271</c:v>
                </c:pt>
                <c:pt idx="21">
                  <c:v>44272</c:v>
                </c:pt>
                <c:pt idx="22">
                  <c:v>44273</c:v>
                </c:pt>
                <c:pt idx="23">
                  <c:v>44274</c:v>
                </c:pt>
                <c:pt idx="24">
                  <c:v>44277</c:v>
                </c:pt>
                <c:pt idx="25">
                  <c:v>44278</c:v>
                </c:pt>
                <c:pt idx="26">
                  <c:v>44279</c:v>
                </c:pt>
                <c:pt idx="27">
                  <c:v>44280</c:v>
                </c:pt>
                <c:pt idx="28">
                  <c:v>44281</c:v>
                </c:pt>
                <c:pt idx="29">
                  <c:v>44284</c:v>
                </c:pt>
                <c:pt idx="30">
                  <c:v>44285</c:v>
                </c:pt>
                <c:pt idx="31">
                  <c:v>44286</c:v>
                </c:pt>
                <c:pt idx="32">
                  <c:v>44287</c:v>
                </c:pt>
                <c:pt idx="33">
                  <c:v>44291</c:v>
                </c:pt>
                <c:pt idx="34">
                  <c:v>44292</c:v>
                </c:pt>
                <c:pt idx="35">
                  <c:v>44293</c:v>
                </c:pt>
                <c:pt idx="36">
                  <c:v>44294</c:v>
                </c:pt>
                <c:pt idx="37">
                  <c:v>44295</c:v>
                </c:pt>
                <c:pt idx="38">
                  <c:v>44298</c:v>
                </c:pt>
                <c:pt idx="39">
                  <c:v>44299</c:v>
                </c:pt>
                <c:pt idx="40">
                  <c:v>44300</c:v>
                </c:pt>
                <c:pt idx="41">
                  <c:v>44301</c:v>
                </c:pt>
                <c:pt idx="42">
                  <c:v>44302</c:v>
                </c:pt>
                <c:pt idx="43">
                  <c:v>44305</c:v>
                </c:pt>
                <c:pt idx="44">
                  <c:v>44306</c:v>
                </c:pt>
                <c:pt idx="45">
                  <c:v>44307</c:v>
                </c:pt>
                <c:pt idx="46">
                  <c:v>44308</c:v>
                </c:pt>
                <c:pt idx="47">
                  <c:v>44309</c:v>
                </c:pt>
                <c:pt idx="48">
                  <c:v>44312</c:v>
                </c:pt>
                <c:pt idx="49">
                  <c:v>44313</c:v>
                </c:pt>
                <c:pt idx="50">
                  <c:v>44314</c:v>
                </c:pt>
                <c:pt idx="51">
                  <c:v>44315</c:v>
                </c:pt>
                <c:pt idx="52">
                  <c:v>44316</c:v>
                </c:pt>
                <c:pt idx="53">
                  <c:v>44319</c:v>
                </c:pt>
                <c:pt idx="54">
                  <c:v>44320</c:v>
                </c:pt>
                <c:pt idx="55">
                  <c:v>44321</c:v>
                </c:pt>
                <c:pt idx="56">
                  <c:v>44322</c:v>
                </c:pt>
                <c:pt idx="57">
                  <c:v>44323</c:v>
                </c:pt>
                <c:pt idx="58">
                  <c:v>44326</c:v>
                </c:pt>
                <c:pt idx="59">
                  <c:v>44327</c:v>
                </c:pt>
                <c:pt idx="60">
                  <c:v>44328</c:v>
                </c:pt>
                <c:pt idx="61">
                  <c:v>44329</c:v>
                </c:pt>
                <c:pt idx="62">
                  <c:v>44330</c:v>
                </c:pt>
                <c:pt idx="63">
                  <c:v>44333</c:v>
                </c:pt>
                <c:pt idx="64">
                  <c:v>44334</c:v>
                </c:pt>
                <c:pt idx="65">
                  <c:v>44335</c:v>
                </c:pt>
                <c:pt idx="66">
                  <c:v>44336</c:v>
                </c:pt>
                <c:pt idx="67">
                  <c:v>44337</c:v>
                </c:pt>
                <c:pt idx="68">
                  <c:v>44340</c:v>
                </c:pt>
                <c:pt idx="69">
                  <c:v>44341</c:v>
                </c:pt>
                <c:pt idx="70">
                  <c:v>44342</c:v>
                </c:pt>
                <c:pt idx="71">
                  <c:v>44343</c:v>
                </c:pt>
                <c:pt idx="72">
                  <c:v>44344</c:v>
                </c:pt>
                <c:pt idx="73">
                  <c:v>44348</c:v>
                </c:pt>
                <c:pt idx="74">
                  <c:v>44349</c:v>
                </c:pt>
                <c:pt idx="75">
                  <c:v>44350</c:v>
                </c:pt>
                <c:pt idx="76">
                  <c:v>44351</c:v>
                </c:pt>
                <c:pt idx="77">
                  <c:v>44354</c:v>
                </c:pt>
                <c:pt idx="78">
                  <c:v>44355</c:v>
                </c:pt>
                <c:pt idx="79">
                  <c:v>44356</c:v>
                </c:pt>
                <c:pt idx="80">
                  <c:v>44357</c:v>
                </c:pt>
                <c:pt idx="81">
                  <c:v>44358</c:v>
                </c:pt>
                <c:pt idx="82">
                  <c:v>44361</c:v>
                </c:pt>
                <c:pt idx="83">
                  <c:v>44362</c:v>
                </c:pt>
                <c:pt idx="84">
                  <c:v>44363</c:v>
                </c:pt>
                <c:pt idx="85">
                  <c:v>44364</c:v>
                </c:pt>
                <c:pt idx="86">
                  <c:v>44365</c:v>
                </c:pt>
                <c:pt idx="87">
                  <c:v>44368</c:v>
                </c:pt>
                <c:pt idx="88">
                  <c:v>44369</c:v>
                </c:pt>
                <c:pt idx="89">
                  <c:v>44370</c:v>
                </c:pt>
                <c:pt idx="90">
                  <c:v>44371</c:v>
                </c:pt>
                <c:pt idx="91">
                  <c:v>44372</c:v>
                </c:pt>
                <c:pt idx="92">
                  <c:v>44375</c:v>
                </c:pt>
                <c:pt idx="93">
                  <c:v>44376</c:v>
                </c:pt>
                <c:pt idx="94">
                  <c:v>44377</c:v>
                </c:pt>
                <c:pt idx="95">
                  <c:v>44378</c:v>
                </c:pt>
                <c:pt idx="96">
                  <c:v>44379</c:v>
                </c:pt>
                <c:pt idx="97">
                  <c:v>44383</c:v>
                </c:pt>
                <c:pt idx="98">
                  <c:v>44384</c:v>
                </c:pt>
                <c:pt idx="99">
                  <c:v>44385</c:v>
                </c:pt>
                <c:pt idx="100">
                  <c:v>44386</c:v>
                </c:pt>
                <c:pt idx="101">
                  <c:v>44389</c:v>
                </c:pt>
                <c:pt idx="102">
                  <c:v>44390</c:v>
                </c:pt>
                <c:pt idx="103">
                  <c:v>44391</c:v>
                </c:pt>
                <c:pt idx="104">
                  <c:v>44392</c:v>
                </c:pt>
                <c:pt idx="105">
                  <c:v>44393</c:v>
                </c:pt>
                <c:pt idx="106">
                  <c:v>44396</c:v>
                </c:pt>
                <c:pt idx="107">
                  <c:v>44397</c:v>
                </c:pt>
                <c:pt idx="108">
                  <c:v>44398</c:v>
                </c:pt>
                <c:pt idx="109">
                  <c:v>44399</c:v>
                </c:pt>
                <c:pt idx="110">
                  <c:v>44400</c:v>
                </c:pt>
                <c:pt idx="111">
                  <c:v>44403</c:v>
                </c:pt>
                <c:pt idx="112">
                  <c:v>44404</c:v>
                </c:pt>
                <c:pt idx="113">
                  <c:v>44405</c:v>
                </c:pt>
                <c:pt idx="114">
                  <c:v>44406</c:v>
                </c:pt>
                <c:pt idx="115">
                  <c:v>44407</c:v>
                </c:pt>
                <c:pt idx="116">
                  <c:v>44410</c:v>
                </c:pt>
                <c:pt idx="117">
                  <c:v>44411</c:v>
                </c:pt>
                <c:pt idx="118">
                  <c:v>44412</c:v>
                </c:pt>
                <c:pt idx="119">
                  <c:v>44413</c:v>
                </c:pt>
                <c:pt idx="120">
                  <c:v>44414</c:v>
                </c:pt>
                <c:pt idx="121">
                  <c:v>44417</c:v>
                </c:pt>
                <c:pt idx="122">
                  <c:v>44418</c:v>
                </c:pt>
                <c:pt idx="123">
                  <c:v>44419</c:v>
                </c:pt>
                <c:pt idx="124">
                  <c:v>44420</c:v>
                </c:pt>
                <c:pt idx="125">
                  <c:v>44421</c:v>
                </c:pt>
                <c:pt idx="126">
                  <c:v>44424</c:v>
                </c:pt>
                <c:pt idx="127">
                  <c:v>44425</c:v>
                </c:pt>
                <c:pt idx="128">
                  <c:v>44426</c:v>
                </c:pt>
                <c:pt idx="129">
                  <c:v>44427</c:v>
                </c:pt>
                <c:pt idx="130">
                  <c:v>44428</c:v>
                </c:pt>
                <c:pt idx="131">
                  <c:v>44431</c:v>
                </c:pt>
                <c:pt idx="132">
                  <c:v>44432</c:v>
                </c:pt>
                <c:pt idx="133">
                  <c:v>44433</c:v>
                </c:pt>
                <c:pt idx="134">
                  <c:v>44434</c:v>
                </c:pt>
                <c:pt idx="135">
                  <c:v>44435</c:v>
                </c:pt>
                <c:pt idx="136">
                  <c:v>44438</c:v>
                </c:pt>
                <c:pt idx="137">
                  <c:v>44439</c:v>
                </c:pt>
                <c:pt idx="138">
                  <c:v>44440</c:v>
                </c:pt>
                <c:pt idx="139">
                  <c:v>44441</c:v>
                </c:pt>
                <c:pt idx="140">
                  <c:v>44442</c:v>
                </c:pt>
                <c:pt idx="141">
                  <c:v>44446</c:v>
                </c:pt>
                <c:pt idx="142">
                  <c:v>44447</c:v>
                </c:pt>
                <c:pt idx="143">
                  <c:v>44448</c:v>
                </c:pt>
                <c:pt idx="144">
                  <c:v>44449</c:v>
                </c:pt>
                <c:pt idx="145">
                  <c:v>44452</c:v>
                </c:pt>
                <c:pt idx="146">
                  <c:v>44453</c:v>
                </c:pt>
                <c:pt idx="147">
                  <c:v>44454</c:v>
                </c:pt>
                <c:pt idx="148">
                  <c:v>44455</c:v>
                </c:pt>
                <c:pt idx="149">
                  <c:v>44456</c:v>
                </c:pt>
                <c:pt idx="150">
                  <c:v>44459</c:v>
                </c:pt>
                <c:pt idx="151">
                  <c:v>44460</c:v>
                </c:pt>
                <c:pt idx="152">
                  <c:v>44461</c:v>
                </c:pt>
                <c:pt idx="153">
                  <c:v>44462</c:v>
                </c:pt>
                <c:pt idx="154">
                  <c:v>44463</c:v>
                </c:pt>
                <c:pt idx="155">
                  <c:v>44466</c:v>
                </c:pt>
                <c:pt idx="156">
                  <c:v>44467</c:v>
                </c:pt>
                <c:pt idx="157">
                  <c:v>44468</c:v>
                </c:pt>
                <c:pt idx="158">
                  <c:v>44469</c:v>
                </c:pt>
                <c:pt idx="159">
                  <c:v>44470</c:v>
                </c:pt>
                <c:pt idx="160">
                  <c:v>44473</c:v>
                </c:pt>
                <c:pt idx="161">
                  <c:v>44474</c:v>
                </c:pt>
                <c:pt idx="162">
                  <c:v>44475</c:v>
                </c:pt>
                <c:pt idx="163">
                  <c:v>44476</c:v>
                </c:pt>
                <c:pt idx="164">
                  <c:v>44477</c:v>
                </c:pt>
                <c:pt idx="165">
                  <c:v>44481</c:v>
                </c:pt>
                <c:pt idx="166">
                  <c:v>44482</c:v>
                </c:pt>
                <c:pt idx="167">
                  <c:v>44483</c:v>
                </c:pt>
                <c:pt idx="168">
                  <c:v>44484</c:v>
                </c:pt>
                <c:pt idx="169">
                  <c:v>44487</c:v>
                </c:pt>
                <c:pt idx="170">
                  <c:v>44488</c:v>
                </c:pt>
                <c:pt idx="171">
                  <c:v>44489</c:v>
                </c:pt>
                <c:pt idx="172">
                  <c:v>44490</c:v>
                </c:pt>
                <c:pt idx="173">
                  <c:v>44491</c:v>
                </c:pt>
                <c:pt idx="174">
                  <c:v>44494</c:v>
                </c:pt>
                <c:pt idx="175">
                  <c:v>44495</c:v>
                </c:pt>
                <c:pt idx="176">
                  <c:v>44496</c:v>
                </c:pt>
                <c:pt idx="177">
                  <c:v>44497</c:v>
                </c:pt>
                <c:pt idx="178">
                  <c:v>44498</c:v>
                </c:pt>
                <c:pt idx="179">
                  <c:v>44501</c:v>
                </c:pt>
                <c:pt idx="180">
                  <c:v>44502</c:v>
                </c:pt>
                <c:pt idx="181">
                  <c:v>44503</c:v>
                </c:pt>
                <c:pt idx="182">
                  <c:v>44504</c:v>
                </c:pt>
                <c:pt idx="183">
                  <c:v>44505</c:v>
                </c:pt>
                <c:pt idx="184">
                  <c:v>44508</c:v>
                </c:pt>
                <c:pt idx="185">
                  <c:v>44509</c:v>
                </c:pt>
                <c:pt idx="186">
                  <c:v>44510</c:v>
                </c:pt>
                <c:pt idx="187">
                  <c:v>44512</c:v>
                </c:pt>
                <c:pt idx="188">
                  <c:v>44515</c:v>
                </c:pt>
                <c:pt idx="189">
                  <c:v>44516</c:v>
                </c:pt>
                <c:pt idx="190">
                  <c:v>44517</c:v>
                </c:pt>
                <c:pt idx="191">
                  <c:v>44518</c:v>
                </c:pt>
                <c:pt idx="192">
                  <c:v>44519</c:v>
                </c:pt>
                <c:pt idx="193">
                  <c:v>44522</c:v>
                </c:pt>
                <c:pt idx="194">
                  <c:v>44523</c:v>
                </c:pt>
                <c:pt idx="195">
                  <c:v>44524</c:v>
                </c:pt>
                <c:pt idx="196">
                  <c:v>44526</c:v>
                </c:pt>
                <c:pt idx="197">
                  <c:v>44529</c:v>
                </c:pt>
                <c:pt idx="198">
                  <c:v>44530</c:v>
                </c:pt>
                <c:pt idx="199">
                  <c:v>44531</c:v>
                </c:pt>
                <c:pt idx="200">
                  <c:v>44532</c:v>
                </c:pt>
                <c:pt idx="201">
                  <c:v>44533</c:v>
                </c:pt>
                <c:pt idx="202">
                  <c:v>44536</c:v>
                </c:pt>
                <c:pt idx="203">
                  <c:v>44537</c:v>
                </c:pt>
                <c:pt idx="204">
                  <c:v>44538</c:v>
                </c:pt>
                <c:pt idx="205">
                  <c:v>44539</c:v>
                </c:pt>
                <c:pt idx="206">
                  <c:v>44540</c:v>
                </c:pt>
                <c:pt idx="207">
                  <c:v>44543</c:v>
                </c:pt>
                <c:pt idx="208">
                  <c:v>44544</c:v>
                </c:pt>
                <c:pt idx="209">
                  <c:v>44545</c:v>
                </c:pt>
                <c:pt idx="210">
                  <c:v>44546</c:v>
                </c:pt>
                <c:pt idx="211">
                  <c:v>44547</c:v>
                </c:pt>
                <c:pt idx="212">
                  <c:v>44550</c:v>
                </c:pt>
                <c:pt idx="213">
                  <c:v>44551</c:v>
                </c:pt>
                <c:pt idx="214">
                  <c:v>44552</c:v>
                </c:pt>
                <c:pt idx="215">
                  <c:v>44553</c:v>
                </c:pt>
                <c:pt idx="216">
                  <c:v>44557</c:v>
                </c:pt>
                <c:pt idx="217">
                  <c:v>44558</c:v>
                </c:pt>
                <c:pt idx="218">
                  <c:v>44559</c:v>
                </c:pt>
                <c:pt idx="219">
                  <c:v>44560</c:v>
                </c:pt>
                <c:pt idx="220">
                  <c:v>44561</c:v>
                </c:pt>
                <c:pt idx="221">
                  <c:v>44564</c:v>
                </c:pt>
                <c:pt idx="222">
                  <c:v>44565</c:v>
                </c:pt>
                <c:pt idx="223">
                  <c:v>44566</c:v>
                </c:pt>
                <c:pt idx="224">
                  <c:v>44567</c:v>
                </c:pt>
                <c:pt idx="225">
                  <c:v>44568</c:v>
                </c:pt>
                <c:pt idx="226">
                  <c:v>44571</c:v>
                </c:pt>
                <c:pt idx="227">
                  <c:v>44572</c:v>
                </c:pt>
                <c:pt idx="228">
                  <c:v>44573</c:v>
                </c:pt>
                <c:pt idx="229">
                  <c:v>44574</c:v>
                </c:pt>
                <c:pt idx="230">
                  <c:v>44575</c:v>
                </c:pt>
                <c:pt idx="231">
                  <c:v>44579</c:v>
                </c:pt>
                <c:pt idx="232">
                  <c:v>44580</c:v>
                </c:pt>
                <c:pt idx="233">
                  <c:v>44581</c:v>
                </c:pt>
                <c:pt idx="234">
                  <c:v>44582</c:v>
                </c:pt>
                <c:pt idx="235">
                  <c:v>44585</c:v>
                </c:pt>
                <c:pt idx="236">
                  <c:v>44586</c:v>
                </c:pt>
                <c:pt idx="237">
                  <c:v>44587</c:v>
                </c:pt>
                <c:pt idx="238">
                  <c:v>44588</c:v>
                </c:pt>
                <c:pt idx="239">
                  <c:v>44589</c:v>
                </c:pt>
                <c:pt idx="240">
                  <c:v>44592</c:v>
                </c:pt>
                <c:pt idx="241">
                  <c:v>44593</c:v>
                </c:pt>
                <c:pt idx="242">
                  <c:v>44594</c:v>
                </c:pt>
                <c:pt idx="243">
                  <c:v>44595</c:v>
                </c:pt>
                <c:pt idx="244">
                  <c:v>44596</c:v>
                </c:pt>
                <c:pt idx="245">
                  <c:v>44599</c:v>
                </c:pt>
                <c:pt idx="246">
                  <c:v>44600</c:v>
                </c:pt>
                <c:pt idx="247">
                  <c:v>44601</c:v>
                </c:pt>
                <c:pt idx="248">
                  <c:v>44602</c:v>
                </c:pt>
                <c:pt idx="249">
                  <c:v>44603</c:v>
                </c:pt>
                <c:pt idx="250">
                  <c:v>44606</c:v>
                </c:pt>
                <c:pt idx="251">
                  <c:v>44607</c:v>
                </c:pt>
                <c:pt idx="252">
                  <c:v>44608</c:v>
                </c:pt>
                <c:pt idx="253">
                  <c:v>44609</c:v>
                </c:pt>
                <c:pt idx="254">
                  <c:v>44610</c:v>
                </c:pt>
                <c:pt idx="255">
                  <c:v>44614</c:v>
                </c:pt>
                <c:pt idx="256">
                  <c:v>44615</c:v>
                </c:pt>
                <c:pt idx="257">
                  <c:v>44616</c:v>
                </c:pt>
                <c:pt idx="258">
                  <c:v>44617</c:v>
                </c:pt>
                <c:pt idx="259">
                  <c:v>44620</c:v>
                </c:pt>
                <c:pt idx="260">
                  <c:v>44621</c:v>
                </c:pt>
                <c:pt idx="261">
                  <c:v>44622</c:v>
                </c:pt>
                <c:pt idx="262">
                  <c:v>44623</c:v>
                </c:pt>
                <c:pt idx="263">
                  <c:v>44624</c:v>
                </c:pt>
                <c:pt idx="264">
                  <c:v>44627</c:v>
                </c:pt>
                <c:pt idx="265">
                  <c:v>44628</c:v>
                </c:pt>
                <c:pt idx="266">
                  <c:v>44629</c:v>
                </c:pt>
                <c:pt idx="267">
                  <c:v>44630</c:v>
                </c:pt>
                <c:pt idx="268">
                  <c:v>44631</c:v>
                </c:pt>
                <c:pt idx="269">
                  <c:v>44634</c:v>
                </c:pt>
                <c:pt idx="270">
                  <c:v>44635</c:v>
                </c:pt>
                <c:pt idx="271">
                  <c:v>44636</c:v>
                </c:pt>
                <c:pt idx="272">
                  <c:v>44637</c:v>
                </c:pt>
                <c:pt idx="273">
                  <c:v>44638</c:v>
                </c:pt>
                <c:pt idx="274">
                  <c:v>44641</c:v>
                </c:pt>
                <c:pt idx="275">
                  <c:v>44642</c:v>
                </c:pt>
                <c:pt idx="276">
                  <c:v>44643</c:v>
                </c:pt>
                <c:pt idx="277">
                  <c:v>44644</c:v>
                </c:pt>
                <c:pt idx="278">
                  <c:v>44645</c:v>
                </c:pt>
                <c:pt idx="279">
                  <c:v>44648</c:v>
                </c:pt>
                <c:pt idx="280">
                  <c:v>44649</c:v>
                </c:pt>
                <c:pt idx="281">
                  <c:v>44650</c:v>
                </c:pt>
                <c:pt idx="282">
                  <c:v>44651</c:v>
                </c:pt>
                <c:pt idx="283">
                  <c:v>44652</c:v>
                </c:pt>
                <c:pt idx="284">
                  <c:v>44655</c:v>
                </c:pt>
                <c:pt idx="285">
                  <c:v>44656</c:v>
                </c:pt>
                <c:pt idx="286">
                  <c:v>44657</c:v>
                </c:pt>
                <c:pt idx="287">
                  <c:v>44658</c:v>
                </c:pt>
                <c:pt idx="288">
                  <c:v>44659</c:v>
                </c:pt>
                <c:pt idx="289">
                  <c:v>44662</c:v>
                </c:pt>
                <c:pt idx="290">
                  <c:v>44663</c:v>
                </c:pt>
                <c:pt idx="291">
                  <c:v>44664</c:v>
                </c:pt>
                <c:pt idx="292">
                  <c:v>44665</c:v>
                </c:pt>
                <c:pt idx="293">
                  <c:v>44669</c:v>
                </c:pt>
                <c:pt idx="294">
                  <c:v>44670</c:v>
                </c:pt>
                <c:pt idx="295">
                  <c:v>44671</c:v>
                </c:pt>
                <c:pt idx="296">
                  <c:v>44672</c:v>
                </c:pt>
                <c:pt idx="297">
                  <c:v>44673</c:v>
                </c:pt>
                <c:pt idx="298">
                  <c:v>44676</c:v>
                </c:pt>
                <c:pt idx="299">
                  <c:v>44677</c:v>
                </c:pt>
                <c:pt idx="300">
                  <c:v>44678</c:v>
                </c:pt>
                <c:pt idx="301">
                  <c:v>44679</c:v>
                </c:pt>
                <c:pt idx="302">
                  <c:v>44680</c:v>
                </c:pt>
                <c:pt idx="303">
                  <c:v>44683</c:v>
                </c:pt>
                <c:pt idx="304">
                  <c:v>44684</c:v>
                </c:pt>
                <c:pt idx="305">
                  <c:v>44685</c:v>
                </c:pt>
                <c:pt idx="306">
                  <c:v>44686</c:v>
                </c:pt>
                <c:pt idx="307">
                  <c:v>44687</c:v>
                </c:pt>
                <c:pt idx="308">
                  <c:v>44690</c:v>
                </c:pt>
                <c:pt idx="309">
                  <c:v>44691</c:v>
                </c:pt>
                <c:pt idx="310">
                  <c:v>44692</c:v>
                </c:pt>
                <c:pt idx="311">
                  <c:v>44693</c:v>
                </c:pt>
                <c:pt idx="312">
                  <c:v>44694</c:v>
                </c:pt>
                <c:pt idx="313">
                  <c:v>44697</c:v>
                </c:pt>
                <c:pt idx="314">
                  <c:v>44698</c:v>
                </c:pt>
                <c:pt idx="315">
                  <c:v>44699</c:v>
                </c:pt>
                <c:pt idx="316">
                  <c:v>44700</c:v>
                </c:pt>
                <c:pt idx="317">
                  <c:v>44701</c:v>
                </c:pt>
                <c:pt idx="318">
                  <c:v>44704</c:v>
                </c:pt>
                <c:pt idx="319">
                  <c:v>44705</c:v>
                </c:pt>
                <c:pt idx="320">
                  <c:v>44706</c:v>
                </c:pt>
                <c:pt idx="321">
                  <c:v>44707</c:v>
                </c:pt>
                <c:pt idx="322">
                  <c:v>44708</c:v>
                </c:pt>
                <c:pt idx="323">
                  <c:v>44712</c:v>
                </c:pt>
                <c:pt idx="324">
                  <c:v>44713</c:v>
                </c:pt>
                <c:pt idx="325">
                  <c:v>44714</c:v>
                </c:pt>
                <c:pt idx="326">
                  <c:v>44715</c:v>
                </c:pt>
                <c:pt idx="327">
                  <c:v>44718</c:v>
                </c:pt>
                <c:pt idx="328">
                  <c:v>44719</c:v>
                </c:pt>
                <c:pt idx="329">
                  <c:v>44720</c:v>
                </c:pt>
                <c:pt idx="330">
                  <c:v>44721</c:v>
                </c:pt>
                <c:pt idx="331">
                  <c:v>44722</c:v>
                </c:pt>
                <c:pt idx="332">
                  <c:v>44725</c:v>
                </c:pt>
                <c:pt idx="333">
                  <c:v>44726</c:v>
                </c:pt>
                <c:pt idx="334">
                  <c:v>44727</c:v>
                </c:pt>
                <c:pt idx="335">
                  <c:v>44728</c:v>
                </c:pt>
                <c:pt idx="336">
                  <c:v>44729</c:v>
                </c:pt>
                <c:pt idx="337">
                  <c:v>44733</c:v>
                </c:pt>
                <c:pt idx="338">
                  <c:v>44734</c:v>
                </c:pt>
                <c:pt idx="339">
                  <c:v>44735</c:v>
                </c:pt>
                <c:pt idx="340">
                  <c:v>44736</c:v>
                </c:pt>
                <c:pt idx="341">
                  <c:v>44739</c:v>
                </c:pt>
                <c:pt idx="342">
                  <c:v>44740</c:v>
                </c:pt>
                <c:pt idx="343">
                  <c:v>44741</c:v>
                </c:pt>
                <c:pt idx="344">
                  <c:v>44742</c:v>
                </c:pt>
                <c:pt idx="345">
                  <c:v>44743</c:v>
                </c:pt>
                <c:pt idx="346">
                  <c:v>44747</c:v>
                </c:pt>
                <c:pt idx="347">
                  <c:v>44748</c:v>
                </c:pt>
                <c:pt idx="348">
                  <c:v>44749</c:v>
                </c:pt>
                <c:pt idx="349">
                  <c:v>44750</c:v>
                </c:pt>
                <c:pt idx="350">
                  <c:v>44753</c:v>
                </c:pt>
                <c:pt idx="351">
                  <c:v>44754</c:v>
                </c:pt>
                <c:pt idx="352">
                  <c:v>44755</c:v>
                </c:pt>
                <c:pt idx="353">
                  <c:v>44756</c:v>
                </c:pt>
                <c:pt idx="354">
                  <c:v>44757</c:v>
                </c:pt>
                <c:pt idx="355">
                  <c:v>44760</c:v>
                </c:pt>
                <c:pt idx="356">
                  <c:v>44761</c:v>
                </c:pt>
                <c:pt idx="357">
                  <c:v>44762</c:v>
                </c:pt>
                <c:pt idx="358">
                  <c:v>44763</c:v>
                </c:pt>
                <c:pt idx="359">
                  <c:v>44764</c:v>
                </c:pt>
                <c:pt idx="360">
                  <c:v>44767</c:v>
                </c:pt>
                <c:pt idx="361">
                  <c:v>44768</c:v>
                </c:pt>
                <c:pt idx="362">
                  <c:v>44769</c:v>
                </c:pt>
                <c:pt idx="363">
                  <c:v>44770</c:v>
                </c:pt>
                <c:pt idx="364">
                  <c:v>44771</c:v>
                </c:pt>
                <c:pt idx="365">
                  <c:v>44774</c:v>
                </c:pt>
                <c:pt idx="366">
                  <c:v>44775</c:v>
                </c:pt>
                <c:pt idx="367">
                  <c:v>44776</c:v>
                </c:pt>
                <c:pt idx="368">
                  <c:v>44777</c:v>
                </c:pt>
                <c:pt idx="369">
                  <c:v>44778</c:v>
                </c:pt>
                <c:pt idx="370">
                  <c:v>44781</c:v>
                </c:pt>
                <c:pt idx="371">
                  <c:v>44782</c:v>
                </c:pt>
                <c:pt idx="372">
                  <c:v>44783</c:v>
                </c:pt>
                <c:pt idx="373">
                  <c:v>44784</c:v>
                </c:pt>
                <c:pt idx="374">
                  <c:v>44785</c:v>
                </c:pt>
                <c:pt idx="375">
                  <c:v>44788</c:v>
                </c:pt>
                <c:pt idx="376">
                  <c:v>44789</c:v>
                </c:pt>
                <c:pt idx="377">
                  <c:v>44790</c:v>
                </c:pt>
                <c:pt idx="378">
                  <c:v>44791</c:v>
                </c:pt>
                <c:pt idx="379">
                  <c:v>44792</c:v>
                </c:pt>
                <c:pt idx="380">
                  <c:v>44795</c:v>
                </c:pt>
                <c:pt idx="381">
                  <c:v>44796</c:v>
                </c:pt>
                <c:pt idx="382">
                  <c:v>44797</c:v>
                </c:pt>
                <c:pt idx="383">
                  <c:v>44798</c:v>
                </c:pt>
                <c:pt idx="384">
                  <c:v>44799</c:v>
                </c:pt>
                <c:pt idx="385">
                  <c:v>44802</c:v>
                </c:pt>
                <c:pt idx="386">
                  <c:v>44803</c:v>
                </c:pt>
                <c:pt idx="387">
                  <c:v>44804</c:v>
                </c:pt>
                <c:pt idx="388">
                  <c:v>44805</c:v>
                </c:pt>
                <c:pt idx="389">
                  <c:v>44806</c:v>
                </c:pt>
                <c:pt idx="390">
                  <c:v>44810</c:v>
                </c:pt>
                <c:pt idx="391">
                  <c:v>44811</c:v>
                </c:pt>
                <c:pt idx="392">
                  <c:v>44812</c:v>
                </c:pt>
                <c:pt idx="393">
                  <c:v>44813</c:v>
                </c:pt>
                <c:pt idx="394">
                  <c:v>44816</c:v>
                </c:pt>
                <c:pt idx="395">
                  <c:v>44817</c:v>
                </c:pt>
                <c:pt idx="396">
                  <c:v>44818</c:v>
                </c:pt>
                <c:pt idx="397">
                  <c:v>44819</c:v>
                </c:pt>
                <c:pt idx="398">
                  <c:v>44820</c:v>
                </c:pt>
                <c:pt idx="399">
                  <c:v>44823</c:v>
                </c:pt>
                <c:pt idx="400">
                  <c:v>44824</c:v>
                </c:pt>
                <c:pt idx="401">
                  <c:v>44825</c:v>
                </c:pt>
                <c:pt idx="402">
                  <c:v>44826</c:v>
                </c:pt>
                <c:pt idx="403">
                  <c:v>44827</c:v>
                </c:pt>
                <c:pt idx="404">
                  <c:v>44830</c:v>
                </c:pt>
                <c:pt idx="405">
                  <c:v>44831</c:v>
                </c:pt>
                <c:pt idx="406">
                  <c:v>44832</c:v>
                </c:pt>
                <c:pt idx="407">
                  <c:v>44833</c:v>
                </c:pt>
                <c:pt idx="408">
                  <c:v>44834</c:v>
                </c:pt>
                <c:pt idx="409">
                  <c:v>44837</c:v>
                </c:pt>
                <c:pt idx="410">
                  <c:v>44838</c:v>
                </c:pt>
                <c:pt idx="411">
                  <c:v>44839</c:v>
                </c:pt>
                <c:pt idx="412">
                  <c:v>44840</c:v>
                </c:pt>
                <c:pt idx="413">
                  <c:v>44841</c:v>
                </c:pt>
                <c:pt idx="414">
                  <c:v>44845</c:v>
                </c:pt>
                <c:pt idx="415">
                  <c:v>44846</c:v>
                </c:pt>
                <c:pt idx="416">
                  <c:v>44847</c:v>
                </c:pt>
                <c:pt idx="417">
                  <c:v>44848</c:v>
                </c:pt>
                <c:pt idx="418">
                  <c:v>44851</c:v>
                </c:pt>
                <c:pt idx="419">
                  <c:v>44852</c:v>
                </c:pt>
                <c:pt idx="420">
                  <c:v>44853</c:v>
                </c:pt>
                <c:pt idx="421">
                  <c:v>44854</c:v>
                </c:pt>
                <c:pt idx="422">
                  <c:v>44855</c:v>
                </c:pt>
                <c:pt idx="423">
                  <c:v>44858</c:v>
                </c:pt>
                <c:pt idx="424">
                  <c:v>44859</c:v>
                </c:pt>
                <c:pt idx="425">
                  <c:v>44860</c:v>
                </c:pt>
                <c:pt idx="426">
                  <c:v>44861</c:v>
                </c:pt>
                <c:pt idx="427">
                  <c:v>44862</c:v>
                </c:pt>
                <c:pt idx="428">
                  <c:v>44865</c:v>
                </c:pt>
                <c:pt idx="429">
                  <c:v>44866</c:v>
                </c:pt>
                <c:pt idx="430">
                  <c:v>44867</c:v>
                </c:pt>
                <c:pt idx="431">
                  <c:v>44868</c:v>
                </c:pt>
                <c:pt idx="432">
                  <c:v>44869</c:v>
                </c:pt>
                <c:pt idx="433">
                  <c:v>44872</c:v>
                </c:pt>
                <c:pt idx="434">
                  <c:v>44873</c:v>
                </c:pt>
                <c:pt idx="435">
                  <c:v>44874</c:v>
                </c:pt>
                <c:pt idx="436">
                  <c:v>44875</c:v>
                </c:pt>
                <c:pt idx="437">
                  <c:v>44879</c:v>
                </c:pt>
                <c:pt idx="438">
                  <c:v>44880</c:v>
                </c:pt>
                <c:pt idx="439">
                  <c:v>44881</c:v>
                </c:pt>
                <c:pt idx="440">
                  <c:v>44882</c:v>
                </c:pt>
                <c:pt idx="441">
                  <c:v>44883</c:v>
                </c:pt>
                <c:pt idx="442">
                  <c:v>44886</c:v>
                </c:pt>
                <c:pt idx="443">
                  <c:v>44887</c:v>
                </c:pt>
                <c:pt idx="444">
                  <c:v>44888</c:v>
                </c:pt>
                <c:pt idx="445">
                  <c:v>44890</c:v>
                </c:pt>
                <c:pt idx="446">
                  <c:v>44893</c:v>
                </c:pt>
                <c:pt idx="447">
                  <c:v>44894</c:v>
                </c:pt>
                <c:pt idx="448">
                  <c:v>44895</c:v>
                </c:pt>
                <c:pt idx="449">
                  <c:v>44896</c:v>
                </c:pt>
                <c:pt idx="450">
                  <c:v>44897</c:v>
                </c:pt>
                <c:pt idx="451">
                  <c:v>44900</c:v>
                </c:pt>
                <c:pt idx="452">
                  <c:v>44901</c:v>
                </c:pt>
                <c:pt idx="453">
                  <c:v>44902</c:v>
                </c:pt>
                <c:pt idx="454">
                  <c:v>44903</c:v>
                </c:pt>
                <c:pt idx="455">
                  <c:v>44904</c:v>
                </c:pt>
                <c:pt idx="456">
                  <c:v>44907</c:v>
                </c:pt>
                <c:pt idx="457">
                  <c:v>44908</c:v>
                </c:pt>
                <c:pt idx="458">
                  <c:v>44909</c:v>
                </c:pt>
                <c:pt idx="459">
                  <c:v>44910</c:v>
                </c:pt>
                <c:pt idx="460">
                  <c:v>44911</c:v>
                </c:pt>
                <c:pt idx="461">
                  <c:v>44914</c:v>
                </c:pt>
                <c:pt idx="462">
                  <c:v>44915</c:v>
                </c:pt>
                <c:pt idx="463">
                  <c:v>44916</c:v>
                </c:pt>
                <c:pt idx="464">
                  <c:v>44917</c:v>
                </c:pt>
                <c:pt idx="465">
                  <c:v>44918</c:v>
                </c:pt>
                <c:pt idx="466">
                  <c:v>44922</c:v>
                </c:pt>
                <c:pt idx="467">
                  <c:v>44923</c:v>
                </c:pt>
                <c:pt idx="468">
                  <c:v>44924</c:v>
                </c:pt>
                <c:pt idx="469">
                  <c:v>44925</c:v>
                </c:pt>
                <c:pt idx="470">
                  <c:v>44929</c:v>
                </c:pt>
                <c:pt idx="471">
                  <c:v>44930</c:v>
                </c:pt>
                <c:pt idx="472">
                  <c:v>44931</c:v>
                </c:pt>
                <c:pt idx="473">
                  <c:v>44932</c:v>
                </c:pt>
                <c:pt idx="474">
                  <c:v>44935</c:v>
                </c:pt>
                <c:pt idx="475">
                  <c:v>44936</c:v>
                </c:pt>
                <c:pt idx="476">
                  <c:v>44937</c:v>
                </c:pt>
                <c:pt idx="477">
                  <c:v>44938</c:v>
                </c:pt>
                <c:pt idx="478">
                  <c:v>44939</c:v>
                </c:pt>
                <c:pt idx="479">
                  <c:v>44943</c:v>
                </c:pt>
                <c:pt idx="480">
                  <c:v>44944</c:v>
                </c:pt>
                <c:pt idx="481">
                  <c:v>44945</c:v>
                </c:pt>
                <c:pt idx="482">
                  <c:v>44946</c:v>
                </c:pt>
                <c:pt idx="483">
                  <c:v>44949</c:v>
                </c:pt>
                <c:pt idx="484">
                  <c:v>44950</c:v>
                </c:pt>
                <c:pt idx="485">
                  <c:v>44951</c:v>
                </c:pt>
                <c:pt idx="486">
                  <c:v>44952</c:v>
                </c:pt>
                <c:pt idx="487">
                  <c:v>44953</c:v>
                </c:pt>
                <c:pt idx="488">
                  <c:v>44956</c:v>
                </c:pt>
                <c:pt idx="489">
                  <c:v>44957</c:v>
                </c:pt>
                <c:pt idx="490">
                  <c:v>44958</c:v>
                </c:pt>
                <c:pt idx="491">
                  <c:v>44959</c:v>
                </c:pt>
                <c:pt idx="492">
                  <c:v>44960</c:v>
                </c:pt>
                <c:pt idx="493">
                  <c:v>44963</c:v>
                </c:pt>
                <c:pt idx="494">
                  <c:v>44964</c:v>
                </c:pt>
                <c:pt idx="495">
                  <c:v>44965</c:v>
                </c:pt>
                <c:pt idx="496">
                  <c:v>44966</c:v>
                </c:pt>
                <c:pt idx="497">
                  <c:v>44967</c:v>
                </c:pt>
                <c:pt idx="498">
                  <c:v>44970</c:v>
                </c:pt>
                <c:pt idx="499">
                  <c:v>44971</c:v>
                </c:pt>
                <c:pt idx="500">
                  <c:v>44972</c:v>
                </c:pt>
                <c:pt idx="501">
                  <c:v>44973</c:v>
                </c:pt>
                <c:pt idx="502">
                  <c:v>44974</c:v>
                </c:pt>
                <c:pt idx="503">
                  <c:v>44978</c:v>
                </c:pt>
                <c:pt idx="504">
                  <c:v>44979</c:v>
                </c:pt>
                <c:pt idx="505">
                  <c:v>44980</c:v>
                </c:pt>
                <c:pt idx="506">
                  <c:v>44981</c:v>
                </c:pt>
                <c:pt idx="507">
                  <c:v>44984</c:v>
                </c:pt>
                <c:pt idx="508">
                  <c:v>44985</c:v>
                </c:pt>
                <c:pt idx="509">
                  <c:v>44986</c:v>
                </c:pt>
                <c:pt idx="510">
                  <c:v>44987</c:v>
                </c:pt>
                <c:pt idx="511">
                  <c:v>44988</c:v>
                </c:pt>
                <c:pt idx="512">
                  <c:v>44991</c:v>
                </c:pt>
                <c:pt idx="513">
                  <c:v>44992</c:v>
                </c:pt>
                <c:pt idx="514">
                  <c:v>44993</c:v>
                </c:pt>
                <c:pt idx="515">
                  <c:v>44994</c:v>
                </c:pt>
                <c:pt idx="516">
                  <c:v>44995</c:v>
                </c:pt>
                <c:pt idx="517">
                  <c:v>44998</c:v>
                </c:pt>
                <c:pt idx="518">
                  <c:v>44999</c:v>
                </c:pt>
                <c:pt idx="519">
                  <c:v>45000</c:v>
                </c:pt>
                <c:pt idx="520">
                  <c:v>45001</c:v>
                </c:pt>
                <c:pt idx="521">
                  <c:v>45002</c:v>
                </c:pt>
                <c:pt idx="522">
                  <c:v>45005</c:v>
                </c:pt>
                <c:pt idx="523">
                  <c:v>45006</c:v>
                </c:pt>
                <c:pt idx="524">
                  <c:v>45007</c:v>
                </c:pt>
                <c:pt idx="525">
                  <c:v>45008</c:v>
                </c:pt>
                <c:pt idx="526">
                  <c:v>45009</c:v>
                </c:pt>
                <c:pt idx="527">
                  <c:v>45012</c:v>
                </c:pt>
                <c:pt idx="528">
                  <c:v>45013</c:v>
                </c:pt>
                <c:pt idx="529">
                  <c:v>45014</c:v>
                </c:pt>
                <c:pt idx="530">
                  <c:v>45015</c:v>
                </c:pt>
                <c:pt idx="531">
                  <c:v>45016</c:v>
                </c:pt>
                <c:pt idx="532">
                  <c:v>45019</c:v>
                </c:pt>
                <c:pt idx="533">
                  <c:v>45020</c:v>
                </c:pt>
                <c:pt idx="534">
                  <c:v>45021</c:v>
                </c:pt>
                <c:pt idx="535">
                  <c:v>45022</c:v>
                </c:pt>
                <c:pt idx="536">
                  <c:v>45026</c:v>
                </c:pt>
                <c:pt idx="537">
                  <c:v>45027</c:v>
                </c:pt>
                <c:pt idx="538">
                  <c:v>45028</c:v>
                </c:pt>
                <c:pt idx="539">
                  <c:v>45029</c:v>
                </c:pt>
                <c:pt idx="540">
                  <c:v>45030</c:v>
                </c:pt>
                <c:pt idx="541">
                  <c:v>45033</c:v>
                </c:pt>
                <c:pt idx="542">
                  <c:v>45034</c:v>
                </c:pt>
                <c:pt idx="543">
                  <c:v>45035</c:v>
                </c:pt>
                <c:pt idx="544">
                  <c:v>45036</c:v>
                </c:pt>
                <c:pt idx="545">
                  <c:v>45037</c:v>
                </c:pt>
                <c:pt idx="546">
                  <c:v>45040</c:v>
                </c:pt>
                <c:pt idx="547">
                  <c:v>45041</c:v>
                </c:pt>
                <c:pt idx="548">
                  <c:v>45042</c:v>
                </c:pt>
                <c:pt idx="549">
                  <c:v>45043</c:v>
                </c:pt>
                <c:pt idx="550">
                  <c:v>45044</c:v>
                </c:pt>
                <c:pt idx="551">
                  <c:v>45047</c:v>
                </c:pt>
                <c:pt idx="552">
                  <c:v>45048</c:v>
                </c:pt>
                <c:pt idx="553">
                  <c:v>45049</c:v>
                </c:pt>
                <c:pt idx="554">
                  <c:v>45050</c:v>
                </c:pt>
                <c:pt idx="555">
                  <c:v>45051</c:v>
                </c:pt>
                <c:pt idx="556">
                  <c:v>45054</c:v>
                </c:pt>
                <c:pt idx="557">
                  <c:v>45055</c:v>
                </c:pt>
                <c:pt idx="558">
                  <c:v>45056</c:v>
                </c:pt>
                <c:pt idx="559">
                  <c:v>45057</c:v>
                </c:pt>
                <c:pt idx="560">
                  <c:v>45058</c:v>
                </c:pt>
                <c:pt idx="561">
                  <c:v>45061</c:v>
                </c:pt>
                <c:pt idx="562">
                  <c:v>45062</c:v>
                </c:pt>
                <c:pt idx="563">
                  <c:v>45063</c:v>
                </c:pt>
                <c:pt idx="564">
                  <c:v>45064</c:v>
                </c:pt>
                <c:pt idx="565">
                  <c:v>45065</c:v>
                </c:pt>
                <c:pt idx="566">
                  <c:v>45068</c:v>
                </c:pt>
                <c:pt idx="567">
                  <c:v>45069</c:v>
                </c:pt>
                <c:pt idx="568">
                  <c:v>45070</c:v>
                </c:pt>
                <c:pt idx="569">
                  <c:v>45071</c:v>
                </c:pt>
                <c:pt idx="570">
                  <c:v>45072</c:v>
                </c:pt>
                <c:pt idx="571">
                  <c:v>45076</c:v>
                </c:pt>
                <c:pt idx="572">
                  <c:v>45077</c:v>
                </c:pt>
                <c:pt idx="573">
                  <c:v>45078</c:v>
                </c:pt>
                <c:pt idx="574">
                  <c:v>45079</c:v>
                </c:pt>
                <c:pt idx="575">
                  <c:v>45082</c:v>
                </c:pt>
                <c:pt idx="576">
                  <c:v>45083</c:v>
                </c:pt>
                <c:pt idx="577">
                  <c:v>45084</c:v>
                </c:pt>
                <c:pt idx="578">
                  <c:v>45085</c:v>
                </c:pt>
                <c:pt idx="579">
                  <c:v>45086</c:v>
                </c:pt>
                <c:pt idx="580">
                  <c:v>45089</c:v>
                </c:pt>
                <c:pt idx="581">
                  <c:v>45090</c:v>
                </c:pt>
                <c:pt idx="582">
                  <c:v>45091</c:v>
                </c:pt>
                <c:pt idx="583">
                  <c:v>45092</c:v>
                </c:pt>
                <c:pt idx="584">
                  <c:v>45093</c:v>
                </c:pt>
                <c:pt idx="585">
                  <c:v>45097</c:v>
                </c:pt>
                <c:pt idx="586">
                  <c:v>45098</c:v>
                </c:pt>
                <c:pt idx="587">
                  <c:v>45099</c:v>
                </c:pt>
                <c:pt idx="588">
                  <c:v>45100</c:v>
                </c:pt>
                <c:pt idx="589">
                  <c:v>45103</c:v>
                </c:pt>
                <c:pt idx="590">
                  <c:v>45104</c:v>
                </c:pt>
                <c:pt idx="591">
                  <c:v>45105</c:v>
                </c:pt>
                <c:pt idx="592">
                  <c:v>45106</c:v>
                </c:pt>
                <c:pt idx="593">
                  <c:v>45107</c:v>
                </c:pt>
                <c:pt idx="594">
                  <c:v>45110</c:v>
                </c:pt>
                <c:pt idx="595">
                  <c:v>45112</c:v>
                </c:pt>
                <c:pt idx="596">
                  <c:v>45113</c:v>
                </c:pt>
                <c:pt idx="597">
                  <c:v>45114</c:v>
                </c:pt>
                <c:pt idx="598">
                  <c:v>45117</c:v>
                </c:pt>
                <c:pt idx="599">
                  <c:v>45118</c:v>
                </c:pt>
                <c:pt idx="600">
                  <c:v>45119</c:v>
                </c:pt>
                <c:pt idx="601">
                  <c:v>45120</c:v>
                </c:pt>
                <c:pt idx="602">
                  <c:v>45121</c:v>
                </c:pt>
                <c:pt idx="603">
                  <c:v>45124</c:v>
                </c:pt>
                <c:pt idx="604">
                  <c:v>45125</c:v>
                </c:pt>
                <c:pt idx="605">
                  <c:v>45126</c:v>
                </c:pt>
                <c:pt idx="606">
                  <c:v>45127</c:v>
                </c:pt>
                <c:pt idx="607">
                  <c:v>45128</c:v>
                </c:pt>
                <c:pt idx="608">
                  <c:v>45131</c:v>
                </c:pt>
                <c:pt idx="609">
                  <c:v>45132</c:v>
                </c:pt>
                <c:pt idx="610">
                  <c:v>45133</c:v>
                </c:pt>
                <c:pt idx="611">
                  <c:v>45134</c:v>
                </c:pt>
                <c:pt idx="612">
                  <c:v>45135</c:v>
                </c:pt>
                <c:pt idx="613">
                  <c:v>45138</c:v>
                </c:pt>
                <c:pt idx="614">
                  <c:v>45139</c:v>
                </c:pt>
                <c:pt idx="615">
                  <c:v>45140</c:v>
                </c:pt>
                <c:pt idx="616">
                  <c:v>45141</c:v>
                </c:pt>
                <c:pt idx="617">
                  <c:v>45142</c:v>
                </c:pt>
                <c:pt idx="618">
                  <c:v>45145</c:v>
                </c:pt>
                <c:pt idx="619">
                  <c:v>45146</c:v>
                </c:pt>
                <c:pt idx="620">
                  <c:v>45147</c:v>
                </c:pt>
                <c:pt idx="621">
                  <c:v>45148</c:v>
                </c:pt>
                <c:pt idx="622">
                  <c:v>45149</c:v>
                </c:pt>
                <c:pt idx="623">
                  <c:v>45152</c:v>
                </c:pt>
                <c:pt idx="624">
                  <c:v>45153</c:v>
                </c:pt>
                <c:pt idx="625">
                  <c:v>45154</c:v>
                </c:pt>
                <c:pt idx="626">
                  <c:v>45155</c:v>
                </c:pt>
                <c:pt idx="627">
                  <c:v>45156</c:v>
                </c:pt>
                <c:pt idx="628">
                  <c:v>45159</c:v>
                </c:pt>
                <c:pt idx="629">
                  <c:v>45160</c:v>
                </c:pt>
                <c:pt idx="630">
                  <c:v>45161</c:v>
                </c:pt>
                <c:pt idx="631">
                  <c:v>45162</c:v>
                </c:pt>
                <c:pt idx="632">
                  <c:v>45163</c:v>
                </c:pt>
                <c:pt idx="633">
                  <c:v>45166</c:v>
                </c:pt>
                <c:pt idx="634">
                  <c:v>45167</c:v>
                </c:pt>
                <c:pt idx="635">
                  <c:v>45168</c:v>
                </c:pt>
                <c:pt idx="636">
                  <c:v>45169</c:v>
                </c:pt>
                <c:pt idx="637">
                  <c:v>45170</c:v>
                </c:pt>
                <c:pt idx="638">
                  <c:v>45174</c:v>
                </c:pt>
                <c:pt idx="639">
                  <c:v>45175</c:v>
                </c:pt>
                <c:pt idx="640">
                  <c:v>45176</c:v>
                </c:pt>
                <c:pt idx="641">
                  <c:v>45177</c:v>
                </c:pt>
                <c:pt idx="642">
                  <c:v>45180</c:v>
                </c:pt>
                <c:pt idx="643">
                  <c:v>45181</c:v>
                </c:pt>
                <c:pt idx="644">
                  <c:v>45182</c:v>
                </c:pt>
                <c:pt idx="645">
                  <c:v>45183</c:v>
                </c:pt>
                <c:pt idx="646">
                  <c:v>45184</c:v>
                </c:pt>
                <c:pt idx="647">
                  <c:v>45187</c:v>
                </c:pt>
                <c:pt idx="648">
                  <c:v>45188</c:v>
                </c:pt>
                <c:pt idx="649">
                  <c:v>45189</c:v>
                </c:pt>
                <c:pt idx="650">
                  <c:v>45190</c:v>
                </c:pt>
                <c:pt idx="651">
                  <c:v>45191</c:v>
                </c:pt>
                <c:pt idx="652">
                  <c:v>45194</c:v>
                </c:pt>
                <c:pt idx="653">
                  <c:v>45195</c:v>
                </c:pt>
                <c:pt idx="654">
                  <c:v>45196</c:v>
                </c:pt>
                <c:pt idx="655">
                  <c:v>45197</c:v>
                </c:pt>
                <c:pt idx="656">
                  <c:v>45198</c:v>
                </c:pt>
                <c:pt idx="657">
                  <c:v>45201</c:v>
                </c:pt>
                <c:pt idx="658">
                  <c:v>45202</c:v>
                </c:pt>
                <c:pt idx="659">
                  <c:v>45203</c:v>
                </c:pt>
                <c:pt idx="660">
                  <c:v>45204</c:v>
                </c:pt>
                <c:pt idx="661">
                  <c:v>45205</c:v>
                </c:pt>
                <c:pt idx="662">
                  <c:v>45209</c:v>
                </c:pt>
                <c:pt idx="663">
                  <c:v>45210</c:v>
                </c:pt>
                <c:pt idx="664">
                  <c:v>45211</c:v>
                </c:pt>
                <c:pt idx="665">
                  <c:v>45212</c:v>
                </c:pt>
                <c:pt idx="666">
                  <c:v>45215</c:v>
                </c:pt>
                <c:pt idx="667">
                  <c:v>45216</c:v>
                </c:pt>
                <c:pt idx="668">
                  <c:v>45217</c:v>
                </c:pt>
                <c:pt idx="669">
                  <c:v>45218</c:v>
                </c:pt>
                <c:pt idx="670">
                  <c:v>45219</c:v>
                </c:pt>
                <c:pt idx="671">
                  <c:v>45222</c:v>
                </c:pt>
                <c:pt idx="672">
                  <c:v>45223</c:v>
                </c:pt>
                <c:pt idx="673">
                  <c:v>45224</c:v>
                </c:pt>
                <c:pt idx="674">
                  <c:v>45225</c:v>
                </c:pt>
                <c:pt idx="675">
                  <c:v>45226</c:v>
                </c:pt>
                <c:pt idx="676">
                  <c:v>45229</c:v>
                </c:pt>
                <c:pt idx="677">
                  <c:v>45230</c:v>
                </c:pt>
                <c:pt idx="678">
                  <c:v>45231</c:v>
                </c:pt>
                <c:pt idx="679">
                  <c:v>45232</c:v>
                </c:pt>
                <c:pt idx="680">
                  <c:v>45233</c:v>
                </c:pt>
                <c:pt idx="681">
                  <c:v>45236</c:v>
                </c:pt>
              </c:numCache>
            </c:numRef>
          </c:cat>
          <c:val>
            <c:numRef>
              <c:f>Hoja1!$B$2:$B$683</c:f>
              <c:numCache>
                <c:formatCode>General</c:formatCode>
                <c:ptCount val="682"/>
                <c:pt idx="0">
                  <c:v>0.14898999999999998</c:v>
                </c:pt>
                <c:pt idx="1">
                  <c:v>0.1482</c:v>
                </c:pt>
                <c:pt idx="2">
                  <c:v>0.14801</c:v>
                </c:pt>
                <c:pt idx="3">
                  <c:v>0.14777999999999999</c:v>
                </c:pt>
                <c:pt idx="4">
                  <c:v>0.14874999999999999</c:v>
                </c:pt>
                <c:pt idx="5">
                  <c:v>0.14962999999999999</c:v>
                </c:pt>
                <c:pt idx="6">
                  <c:v>0.15096999999999999</c:v>
                </c:pt>
                <c:pt idx="7">
                  <c:v>0.15140999999999999</c:v>
                </c:pt>
                <c:pt idx="8">
                  <c:v>0.15243999999999999</c:v>
                </c:pt>
                <c:pt idx="9">
                  <c:v>0.15362000000000001</c:v>
                </c:pt>
                <c:pt idx="10">
                  <c:v>0.15522</c:v>
                </c:pt>
                <c:pt idx="11">
                  <c:v>0.15682000000000001</c:v>
                </c:pt>
                <c:pt idx="12">
                  <c:v>0.15814</c:v>
                </c:pt>
                <c:pt idx="13">
                  <c:v>0.16306999999999999</c:v>
                </c:pt>
                <c:pt idx="14">
                  <c:v>0.16383</c:v>
                </c:pt>
                <c:pt idx="15">
                  <c:v>0.16322</c:v>
                </c:pt>
                <c:pt idx="16">
                  <c:v>0.16263000000000002</c:v>
                </c:pt>
                <c:pt idx="17">
                  <c:v>0.16052</c:v>
                </c:pt>
                <c:pt idx="18">
                  <c:v>0.15919</c:v>
                </c:pt>
                <c:pt idx="19">
                  <c:v>0.15912000000000001</c:v>
                </c:pt>
                <c:pt idx="20">
                  <c:v>0.15790999999999999</c:v>
                </c:pt>
                <c:pt idx="21">
                  <c:v>0.15811999999999998</c:v>
                </c:pt>
                <c:pt idx="22">
                  <c:v>0.15814</c:v>
                </c:pt>
                <c:pt idx="23">
                  <c:v>0.15820000000000001</c:v>
                </c:pt>
                <c:pt idx="24">
                  <c:v>0.15895000000000001</c:v>
                </c:pt>
                <c:pt idx="25">
                  <c:v>0.15967999999999999</c:v>
                </c:pt>
                <c:pt idx="26">
                  <c:v>0.16225000000000001</c:v>
                </c:pt>
                <c:pt idx="27">
                  <c:v>0.16350000000000001</c:v>
                </c:pt>
                <c:pt idx="28">
                  <c:v>0.16406999999999999</c:v>
                </c:pt>
                <c:pt idx="29">
                  <c:v>0.16467999999999999</c:v>
                </c:pt>
                <c:pt idx="30">
                  <c:v>0.16687000000000002</c:v>
                </c:pt>
                <c:pt idx="31">
                  <c:v>0.16752</c:v>
                </c:pt>
                <c:pt idx="32">
                  <c:v>0.16674</c:v>
                </c:pt>
                <c:pt idx="33">
                  <c:v>0.16844000000000001</c:v>
                </c:pt>
                <c:pt idx="34">
                  <c:v>0.16835999999999998</c:v>
                </c:pt>
                <c:pt idx="35">
                  <c:v>0.16907</c:v>
                </c:pt>
                <c:pt idx="36">
                  <c:v>0.17175000000000001</c:v>
                </c:pt>
                <c:pt idx="37">
                  <c:v>0.17422000000000001</c:v>
                </c:pt>
                <c:pt idx="38">
                  <c:v>0.17399000000000001</c:v>
                </c:pt>
                <c:pt idx="39">
                  <c:v>0.17641999999999999</c:v>
                </c:pt>
                <c:pt idx="40">
                  <c:v>0.17963000000000001</c:v>
                </c:pt>
                <c:pt idx="41">
                  <c:v>0.17986999999999997</c:v>
                </c:pt>
                <c:pt idx="42">
                  <c:v>0.18031</c:v>
                </c:pt>
                <c:pt idx="43">
                  <c:v>0.18085000000000001</c:v>
                </c:pt>
                <c:pt idx="44">
                  <c:v>0.18204000000000001</c:v>
                </c:pt>
                <c:pt idx="45">
                  <c:v>0.18554999999999999</c:v>
                </c:pt>
                <c:pt idx="46">
                  <c:v>0.18559999999999999</c:v>
                </c:pt>
                <c:pt idx="47">
                  <c:v>0.18465000000000001</c:v>
                </c:pt>
                <c:pt idx="48">
                  <c:v>0.18245999999999998</c:v>
                </c:pt>
                <c:pt idx="49">
                  <c:v>0.17977000000000001</c:v>
                </c:pt>
                <c:pt idx="50">
                  <c:v>0.17842</c:v>
                </c:pt>
                <c:pt idx="51">
                  <c:v>0.17735000000000001</c:v>
                </c:pt>
                <c:pt idx="52">
                  <c:v>0.17587</c:v>
                </c:pt>
                <c:pt idx="53">
                  <c:v>0.17341999999999999</c:v>
                </c:pt>
                <c:pt idx="54">
                  <c:v>0.16882000000000003</c:v>
                </c:pt>
                <c:pt idx="55">
                  <c:v>0.16764999999999999</c:v>
                </c:pt>
                <c:pt idx="56">
                  <c:v>0.16774999999999998</c:v>
                </c:pt>
                <c:pt idx="57">
                  <c:v>0.16642999999999999</c:v>
                </c:pt>
                <c:pt idx="58">
                  <c:v>0.16454000000000002</c:v>
                </c:pt>
                <c:pt idx="59">
                  <c:v>0.1646</c:v>
                </c:pt>
                <c:pt idx="60">
                  <c:v>0.16039999999999999</c:v>
                </c:pt>
                <c:pt idx="61">
                  <c:v>0.16071000000000002</c:v>
                </c:pt>
                <c:pt idx="62">
                  <c:v>0.15945000000000001</c:v>
                </c:pt>
                <c:pt idx="63">
                  <c:v>0.15932000000000002</c:v>
                </c:pt>
                <c:pt idx="64">
                  <c:v>0.15891</c:v>
                </c:pt>
                <c:pt idx="65">
                  <c:v>0.15897</c:v>
                </c:pt>
                <c:pt idx="66">
                  <c:v>0.15962999999999999</c:v>
                </c:pt>
                <c:pt idx="67">
                  <c:v>0.15976000000000001</c:v>
                </c:pt>
                <c:pt idx="68">
                  <c:v>0.15984000000000001</c:v>
                </c:pt>
                <c:pt idx="69">
                  <c:v>0.15984000000000001</c:v>
                </c:pt>
                <c:pt idx="70">
                  <c:v>0.15977</c:v>
                </c:pt>
                <c:pt idx="71">
                  <c:v>0.16017000000000001</c:v>
                </c:pt>
                <c:pt idx="72">
                  <c:v>0.16024999999999998</c:v>
                </c:pt>
                <c:pt idx="73">
                  <c:v>0.15991</c:v>
                </c:pt>
                <c:pt idx="74">
                  <c:v>0.15795000000000001</c:v>
                </c:pt>
                <c:pt idx="75">
                  <c:v>0.15646000000000002</c:v>
                </c:pt>
                <c:pt idx="76">
                  <c:v>0.15417</c:v>
                </c:pt>
                <c:pt idx="77">
                  <c:v>0.15298999999999999</c:v>
                </c:pt>
                <c:pt idx="78">
                  <c:v>0.15123</c:v>
                </c:pt>
                <c:pt idx="79">
                  <c:v>0.14904999999999999</c:v>
                </c:pt>
                <c:pt idx="80">
                  <c:v>0.14557</c:v>
                </c:pt>
                <c:pt idx="81">
                  <c:v>0.14582000000000001</c:v>
                </c:pt>
                <c:pt idx="82">
                  <c:v>0.14587999999999998</c:v>
                </c:pt>
                <c:pt idx="83">
                  <c:v>0.14610000000000001</c:v>
                </c:pt>
                <c:pt idx="84">
                  <c:v>0.14534</c:v>
                </c:pt>
                <c:pt idx="85">
                  <c:v>0.14574999999999999</c:v>
                </c:pt>
                <c:pt idx="86">
                  <c:v>0.14566000000000001</c:v>
                </c:pt>
                <c:pt idx="87">
                  <c:v>0.14654</c:v>
                </c:pt>
                <c:pt idx="88">
                  <c:v>0.14624999999999999</c:v>
                </c:pt>
                <c:pt idx="89">
                  <c:v>0.14577000000000001</c:v>
                </c:pt>
                <c:pt idx="90">
                  <c:v>0.14554999999999998</c:v>
                </c:pt>
                <c:pt idx="91">
                  <c:v>0.1454</c:v>
                </c:pt>
                <c:pt idx="92">
                  <c:v>0.14609</c:v>
                </c:pt>
                <c:pt idx="93">
                  <c:v>0.14499000000000001</c:v>
                </c:pt>
                <c:pt idx="94">
                  <c:v>0.14499999999999999</c:v>
                </c:pt>
                <c:pt idx="95">
                  <c:v>0.14496999999999999</c:v>
                </c:pt>
                <c:pt idx="96">
                  <c:v>0.14486000000000002</c:v>
                </c:pt>
                <c:pt idx="97">
                  <c:v>0.14521000000000001</c:v>
                </c:pt>
                <c:pt idx="98">
                  <c:v>0.14532</c:v>
                </c:pt>
                <c:pt idx="99">
                  <c:v>0.14547000000000002</c:v>
                </c:pt>
                <c:pt idx="100">
                  <c:v>0.14554999999999998</c:v>
                </c:pt>
                <c:pt idx="101">
                  <c:v>0.14562</c:v>
                </c:pt>
                <c:pt idx="102">
                  <c:v>0.14587</c:v>
                </c:pt>
                <c:pt idx="103">
                  <c:v>0.14591999999999999</c:v>
                </c:pt>
                <c:pt idx="104">
                  <c:v>0.14596999999999999</c:v>
                </c:pt>
                <c:pt idx="105">
                  <c:v>0.14599999999999999</c:v>
                </c:pt>
                <c:pt idx="106">
                  <c:v>0.14601</c:v>
                </c:pt>
                <c:pt idx="107">
                  <c:v>0.14602999999999999</c:v>
                </c:pt>
                <c:pt idx="108">
                  <c:v>0.14602999999999999</c:v>
                </c:pt>
                <c:pt idx="109">
                  <c:v>0.14621999999999999</c:v>
                </c:pt>
                <c:pt idx="110">
                  <c:v>0.14615999999999998</c:v>
                </c:pt>
                <c:pt idx="111">
                  <c:v>0.14574000000000001</c:v>
                </c:pt>
                <c:pt idx="112">
                  <c:v>0.14666999999999999</c:v>
                </c:pt>
                <c:pt idx="113">
                  <c:v>0.14627000000000001</c:v>
                </c:pt>
                <c:pt idx="114">
                  <c:v>0.14635999999999999</c:v>
                </c:pt>
                <c:pt idx="115">
                  <c:v>0.14662</c:v>
                </c:pt>
                <c:pt idx="116">
                  <c:v>0.14644000000000001</c:v>
                </c:pt>
                <c:pt idx="117">
                  <c:v>0.14681</c:v>
                </c:pt>
                <c:pt idx="118">
                  <c:v>0.14676999999999998</c:v>
                </c:pt>
                <c:pt idx="119">
                  <c:v>0.14779999999999999</c:v>
                </c:pt>
                <c:pt idx="120">
                  <c:v>0.14777999999999999</c:v>
                </c:pt>
                <c:pt idx="121">
                  <c:v>0.1479</c:v>
                </c:pt>
                <c:pt idx="122">
                  <c:v>0.14756</c:v>
                </c:pt>
                <c:pt idx="123">
                  <c:v>0.14519000000000001</c:v>
                </c:pt>
                <c:pt idx="124">
                  <c:v>0.14382999999999999</c:v>
                </c:pt>
                <c:pt idx="125">
                  <c:v>0.14409</c:v>
                </c:pt>
                <c:pt idx="126">
                  <c:v>0.14404999999999998</c:v>
                </c:pt>
                <c:pt idx="127">
                  <c:v>0.14355000000000001</c:v>
                </c:pt>
                <c:pt idx="128">
                  <c:v>0.14360000000000001</c:v>
                </c:pt>
                <c:pt idx="129">
                  <c:v>0.14373</c:v>
                </c:pt>
                <c:pt idx="130">
                  <c:v>0.14371999999999999</c:v>
                </c:pt>
                <c:pt idx="131">
                  <c:v>0.14157</c:v>
                </c:pt>
                <c:pt idx="132">
                  <c:v>0.14022000000000001</c:v>
                </c:pt>
                <c:pt idx="133">
                  <c:v>0.13966000000000001</c:v>
                </c:pt>
                <c:pt idx="134">
                  <c:v>0.13941000000000001</c:v>
                </c:pt>
                <c:pt idx="135">
                  <c:v>0.13913</c:v>
                </c:pt>
                <c:pt idx="136">
                  <c:v>0.13818</c:v>
                </c:pt>
                <c:pt idx="137">
                  <c:v>0.13832</c:v>
                </c:pt>
                <c:pt idx="138">
                  <c:v>0.13797999999999999</c:v>
                </c:pt>
                <c:pt idx="139">
                  <c:v>0.13788</c:v>
                </c:pt>
                <c:pt idx="140">
                  <c:v>0.13771</c:v>
                </c:pt>
                <c:pt idx="141">
                  <c:v>0.13720000000000002</c:v>
                </c:pt>
                <c:pt idx="142">
                  <c:v>0.13739000000000001</c:v>
                </c:pt>
                <c:pt idx="143">
                  <c:v>0.13791999999999999</c:v>
                </c:pt>
                <c:pt idx="144">
                  <c:v>0.13849</c:v>
                </c:pt>
                <c:pt idx="145">
                  <c:v>0.13688</c:v>
                </c:pt>
                <c:pt idx="146">
                  <c:v>0.13669999999999999</c:v>
                </c:pt>
                <c:pt idx="147">
                  <c:v>0.13669999999999999</c:v>
                </c:pt>
                <c:pt idx="148">
                  <c:v>0.13677</c:v>
                </c:pt>
                <c:pt idx="149">
                  <c:v>0.13658000000000001</c:v>
                </c:pt>
                <c:pt idx="150">
                  <c:v>0.13788</c:v>
                </c:pt>
                <c:pt idx="151">
                  <c:v>0.1376</c:v>
                </c:pt>
                <c:pt idx="152">
                  <c:v>0.13738</c:v>
                </c:pt>
                <c:pt idx="153">
                  <c:v>0.13754</c:v>
                </c:pt>
                <c:pt idx="154">
                  <c:v>0.13839000000000001</c:v>
                </c:pt>
                <c:pt idx="155">
                  <c:v>0.13949</c:v>
                </c:pt>
                <c:pt idx="156">
                  <c:v>0.14021</c:v>
                </c:pt>
                <c:pt idx="157">
                  <c:v>0.14083000000000001</c:v>
                </c:pt>
                <c:pt idx="158">
                  <c:v>0.14107</c:v>
                </c:pt>
                <c:pt idx="159">
                  <c:v>0.1421</c:v>
                </c:pt>
                <c:pt idx="160">
                  <c:v>0.14365</c:v>
                </c:pt>
                <c:pt idx="161">
                  <c:v>0.14458000000000001</c:v>
                </c:pt>
                <c:pt idx="162">
                  <c:v>0.14445</c:v>
                </c:pt>
                <c:pt idx="163">
                  <c:v>0.14490999999999998</c:v>
                </c:pt>
                <c:pt idx="164">
                  <c:v>0.14454</c:v>
                </c:pt>
                <c:pt idx="165">
                  <c:v>0.14486000000000002</c:v>
                </c:pt>
                <c:pt idx="166">
                  <c:v>0.14476</c:v>
                </c:pt>
                <c:pt idx="167">
                  <c:v>0.14474999999999999</c:v>
                </c:pt>
                <c:pt idx="168">
                  <c:v>0.14480000000000001</c:v>
                </c:pt>
                <c:pt idx="169">
                  <c:v>0.14541999999999999</c:v>
                </c:pt>
                <c:pt idx="170">
                  <c:v>0.14596000000000001</c:v>
                </c:pt>
                <c:pt idx="171">
                  <c:v>0.14602000000000001</c:v>
                </c:pt>
                <c:pt idx="172">
                  <c:v>0.14630000000000001</c:v>
                </c:pt>
                <c:pt idx="173">
                  <c:v>0.14660000000000001</c:v>
                </c:pt>
                <c:pt idx="174">
                  <c:v>0.14649999999999999</c:v>
                </c:pt>
                <c:pt idx="175">
                  <c:v>0.14672000000000002</c:v>
                </c:pt>
                <c:pt idx="176">
                  <c:v>0.14682999999999999</c:v>
                </c:pt>
                <c:pt idx="177">
                  <c:v>0.14748</c:v>
                </c:pt>
                <c:pt idx="178">
                  <c:v>0.14777999999999999</c:v>
                </c:pt>
                <c:pt idx="179">
                  <c:v>0.14917</c:v>
                </c:pt>
                <c:pt idx="180">
                  <c:v>0.15048</c:v>
                </c:pt>
                <c:pt idx="181">
                  <c:v>0.15246000000000001</c:v>
                </c:pt>
                <c:pt idx="182">
                  <c:v>0.15228999999999998</c:v>
                </c:pt>
                <c:pt idx="183">
                  <c:v>0.15217</c:v>
                </c:pt>
                <c:pt idx="184">
                  <c:v>0.15423000000000001</c:v>
                </c:pt>
                <c:pt idx="185">
                  <c:v>0.15658</c:v>
                </c:pt>
                <c:pt idx="186">
                  <c:v>0.15673000000000001</c:v>
                </c:pt>
                <c:pt idx="187">
                  <c:v>0.15689999999999998</c:v>
                </c:pt>
                <c:pt idx="188">
                  <c:v>0.15586</c:v>
                </c:pt>
                <c:pt idx="189">
                  <c:v>0.15592</c:v>
                </c:pt>
                <c:pt idx="190">
                  <c:v>0.15747999999999998</c:v>
                </c:pt>
                <c:pt idx="191">
                  <c:v>0.15881000000000001</c:v>
                </c:pt>
                <c:pt idx="192">
                  <c:v>0.15939</c:v>
                </c:pt>
                <c:pt idx="193">
                  <c:v>0.15987999999999999</c:v>
                </c:pt>
                <c:pt idx="194">
                  <c:v>0.16271000000000002</c:v>
                </c:pt>
                <c:pt idx="195">
                  <c:v>0.16363</c:v>
                </c:pt>
                <c:pt idx="196">
                  <c:v>0.16433</c:v>
                </c:pt>
                <c:pt idx="197">
                  <c:v>0.16513999999999998</c:v>
                </c:pt>
                <c:pt idx="198">
                  <c:v>0.16638000000000003</c:v>
                </c:pt>
                <c:pt idx="199">
                  <c:v>0.16775999999999999</c:v>
                </c:pt>
                <c:pt idx="200">
                  <c:v>0.16821000000000003</c:v>
                </c:pt>
                <c:pt idx="201">
                  <c:v>0.16739999999999999</c:v>
                </c:pt>
                <c:pt idx="202">
                  <c:v>0.16763000000000003</c:v>
                </c:pt>
                <c:pt idx="203">
                  <c:v>0.16857</c:v>
                </c:pt>
                <c:pt idx="204">
                  <c:v>0.16871</c:v>
                </c:pt>
                <c:pt idx="205">
                  <c:v>0.16943000000000003</c:v>
                </c:pt>
                <c:pt idx="206">
                  <c:v>0.16935</c:v>
                </c:pt>
                <c:pt idx="207">
                  <c:v>0.16942000000000002</c:v>
                </c:pt>
                <c:pt idx="208">
                  <c:v>0.17199999999999999</c:v>
                </c:pt>
                <c:pt idx="209">
                  <c:v>0.17574000000000001</c:v>
                </c:pt>
                <c:pt idx="210">
                  <c:v>0.17449000000000001</c:v>
                </c:pt>
                <c:pt idx="211">
                  <c:v>0.17465</c:v>
                </c:pt>
                <c:pt idx="212">
                  <c:v>0.17541000000000001</c:v>
                </c:pt>
                <c:pt idx="213">
                  <c:v>0.17595</c:v>
                </c:pt>
                <c:pt idx="214">
                  <c:v>0.17630999999999999</c:v>
                </c:pt>
                <c:pt idx="215">
                  <c:v>0.17691999999999999</c:v>
                </c:pt>
                <c:pt idx="216">
                  <c:v>0.17655999999999999</c:v>
                </c:pt>
                <c:pt idx="217">
                  <c:v>0.17646999999999999</c:v>
                </c:pt>
                <c:pt idx="218">
                  <c:v>0.17660000000000001</c:v>
                </c:pt>
                <c:pt idx="219">
                  <c:v>0.17671000000000001</c:v>
                </c:pt>
                <c:pt idx="220">
                  <c:v>0.17649999999999999</c:v>
                </c:pt>
                <c:pt idx="221">
                  <c:v>0.17601</c:v>
                </c:pt>
                <c:pt idx="222">
                  <c:v>0.17493999999999998</c:v>
                </c:pt>
                <c:pt idx="223">
                  <c:v>0.17507</c:v>
                </c:pt>
                <c:pt idx="224">
                  <c:v>0.17654</c:v>
                </c:pt>
                <c:pt idx="225">
                  <c:v>0.17638999999999999</c:v>
                </c:pt>
                <c:pt idx="226">
                  <c:v>0.17710999999999999</c:v>
                </c:pt>
                <c:pt idx="227">
                  <c:v>0.17715</c:v>
                </c:pt>
                <c:pt idx="228">
                  <c:v>0.17582</c:v>
                </c:pt>
                <c:pt idx="229">
                  <c:v>0.17597000000000002</c:v>
                </c:pt>
                <c:pt idx="230">
                  <c:v>0.17736999999999997</c:v>
                </c:pt>
                <c:pt idx="231">
                  <c:v>0.18077000000000001</c:v>
                </c:pt>
                <c:pt idx="232">
                  <c:v>0.18094000000000002</c:v>
                </c:pt>
                <c:pt idx="233">
                  <c:v>0.18181</c:v>
                </c:pt>
                <c:pt idx="234">
                  <c:v>0.18236999999999998</c:v>
                </c:pt>
                <c:pt idx="235">
                  <c:v>0.18490999999999999</c:v>
                </c:pt>
                <c:pt idx="236">
                  <c:v>0.18523000000000001</c:v>
                </c:pt>
                <c:pt idx="237">
                  <c:v>0.18594999999999998</c:v>
                </c:pt>
                <c:pt idx="238">
                  <c:v>0.18696000000000002</c:v>
                </c:pt>
                <c:pt idx="239">
                  <c:v>0.17709</c:v>
                </c:pt>
                <c:pt idx="240">
                  <c:v>0.17507</c:v>
                </c:pt>
                <c:pt idx="241">
                  <c:v>0.16969999999999999</c:v>
                </c:pt>
                <c:pt idx="242">
                  <c:v>0.16420000000000001</c:v>
                </c:pt>
                <c:pt idx="243">
                  <c:v>0.16264000000000001</c:v>
                </c:pt>
                <c:pt idx="244">
                  <c:v>0.16163</c:v>
                </c:pt>
                <c:pt idx="245">
                  <c:v>0.15773999999999999</c:v>
                </c:pt>
                <c:pt idx="246">
                  <c:v>0.15629999999999999</c:v>
                </c:pt>
                <c:pt idx="247">
                  <c:v>0.15451999999999999</c:v>
                </c:pt>
                <c:pt idx="248">
                  <c:v>0.15206</c:v>
                </c:pt>
                <c:pt idx="249">
                  <c:v>0.15101000000000001</c:v>
                </c:pt>
                <c:pt idx="250">
                  <c:v>0.15085000000000001</c:v>
                </c:pt>
                <c:pt idx="251">
                  <c:v>0.15010000000000001</c:v>
                </c:pt>
                <c:pt idx="252">
                  <c:v>0.14985999999999999</c:v>
                </c:pt>
                <c:pt idx="253">
                  <c:v>0.14984</c:v>
                </c:pt>
                <c:pt idx="254">
                  <c:v>0.14892</c:v>
                </c:pt>
                <c:pt idx="255">
                  <c:v>0.14926</c:v>
                </c:pt>
                <c:pt idx="256">
                  <c:v>0.14845</c:v>
                </c:pt>
                <c:pt idx="257">
                  <c:v>0.14992</c:v>
                </c:pt>
                <c:pt idx="258">
                  <c:v>0.14992</c:v>
                </c:pt>
                <c:pt idx="259">
                  <c:v>0.15021000000000001</c:v>
                </c:pt>
                <c:pt idx="260">
                  <c:v>0.14852000000000001</c:v>
                </c:pt>
                <c:pt idx="261">
                  <c:v>0.14852000000000001</c:v>
                </c:pt>
                <c:pt idx="262">
                  <c:v>0.14851</c:v>
                </c:pt>
                <c:pt idx="263">
                  <c:v>0.14949999999999999</c:v>
                </c:pt>
                <c:pt idx="264">
                  <c:v>0.14954000000000001</c:v>
                </c:pt>
                <c:pt idx="265">
                  <c:v>0.15079000000000001</c:v>
                </c:pt>
                <c:pt idx="266">
                  <c:v>0.14957999999999999</c:v>
                </c:pt>
                <c:pt idx="267">
                  <c:v>0.14960999999999999</c:v>
                </c:pt>
                <c:pt idx="268">
                  <c:v>0.14940000000000001</c:v>
                </c:pt>
                <c:pt idx="269">
                  <c:v>0.14880000000000002</c:v>
                </c:pt>
                <c:pt idx="270">
                  <c:v>0.14892</c:v>
                </c:pt>
                <c:pt idx="271">
                  <c:v>0.14823</c:v>
                </c:pt>
                <c:pt idx="272">
                  <c:v>0.14797000000000002</c:v>
                </c:pt>
                <c:pt idx="273">
                  <c:v>0.14698</c:v>
                </c:pt>
                <c:pt idx="274">
                  <c:v>0.14641999999999999</c:v>
                </c:pt>
                <c:pt idx="275">
                  <c:v>0.14550000000000002</c:v>
                </c:pt>
                <c:pt idx="276">
                  <c:v>0.14463999999999999</c:v>
                </c:pt>
                <c:pt idx="277">
                  <c:v>0.14412</c:v>
                </c:pt>
                <c:pt idx="278">
                  <c:v>0.14385999999999999</c:v>
                </c:pt>
                <c:pt idx="279">
                  <c:v>0.14269999999999999</c:v>
                </c:pt>
                <c:pt idx="280">
                  <c:v>0.14219999999999999</c:v>
                </c:pt>
                <c:pt idx="281">
                  <c:v>0.1391</c:v>
                </c:pt>
                <c:pt idx="282">
                  <c:v>0.13694000000000001</c:v>
                </c:pt>
                <c:pt idx="283">
                  <c:v>0.13657</c:v>
                </c:pt>
                <c:pt idx="284">
                  <c:v>0.13455999999999999</c:v>
                </c:pt>
                <c:pt idx="285">
                  <c:v>0.13355</c:v>
                </c:pt>
                <c:pt idx="286">
                  <c:v>0.1346</c:v>
                </c:pt>
                <c:pt idx="287">
                  <c:v>0.13419</c:v>
                </c:pt>
                <c:pt idx="288">
                  <c:v>0.13425000000000001</c:v>
                </c:pt>
                <c:pt idx="289">
                  <c:v>0.13532</c:v>
                </c:pt>
                <c:pt idx="290">
                  <c:v>0.13550999999999999</c:v>
                </c:pt>
                <c:pt idx="291">
                  <c:v>0.13549</c:v>
                </c:pt>
                <c:pt idx="292">
                  <c:v>0.13577</c:v>
                </c:pt>
                <c:pt idx="293">
                  <c:v>0.13570000000000002</c:v>
                </c:pt>
                <c:pt idx="294">
                  <c:v>0.13618</c:v>
                </c:pt>
                <c:pt idx="295">
                  <c:v>0.13625000000000001</c:v>
                </c:pt>
                <c:pt idx="296">
                  <c:v>0.13666999999999999</c:v>
                </c:pt>
                <c:pt idx="297">
                  <c:v>0.13754</c:v>
                </c:pt>
                <c:pt idx="298">
                  <c:v>0.13752</c:v>
                </c:pt>
                <c:pt idx="299">
                  <c:v>0.13927</c:v>
                </c:pt>
                <c:pt idx="300">
                  <c:v>0.14087</c:v>
                </c:pt>
                <c:pt idx="301">
                  <c:v>0.14135999999999999</c:v>
                </c:pt>
                <c:pt idx="302">
                  <c:v>0.14243</c:v>
                </c:pt>
                <c:pt idx="303">
                  <c:v>0.14398</c:v>
                </c:pt>
                <c:pt idx="304">
                  <c:v>0.14627000000000001</c:v>
                </c:pt>
                <c:pt idx="305">
                  <c:v>0.14627999999999999</c:v>
                </c:pt>
                <c:pt idx="306">
                  <c:v>0.14718999999999999</c:v>
                </c:pt>
                <c:pt idx="307">
                  <c:v>0.14768999999999999</c:v>
                </c:pt>
                <c:pt idx="308">
                  <c:v>0.14977000000000001</c:v>
                </c:pt>
                <c:pt idx="309">
                  <c:v>0.15140999999999999</c:v>
                </c:pt>
                <c:pt idx="310">
                  <c:v>0.15279000000000001</c:v>
                </c:pt>
                <c:pt idx="311">
                  <c:v>0.15429999999999999</c:v>
                </c:pt>
                <c:pt idx="312">
                  <c:v>0.15496000000000001</c:v>
                </c:pt>
                <c:pt idx="313">
                  <c:v>0.15558</c:v>
                </c:pt>
                <c:pt idx="314">
                  <c:v>0.15625</c:v>
                </c:pt>
                <c:pt idx="315">
                  <c:v>0.15720999999999999</c:v>
                </c:pt>
                <c:pt idx="316">
                  <c:v>0.16097</c:v>
                </c:pt>
                <c:pt idx="317">
                  <c:v>0.16153999999999999</c:v>
                </c:pt>
                <c:pt idx="318">
                  <c:v>0.16268999999999997</c:v>
                </c:pt>
                <c:pt idx="319">
                  <c:v>0.16244</c:v>
                </c:pt>
                <c:pt idx="320">
                  <c:v>0.16203000000000001</c:v>
                </c:pt>
                <c:pt idx="321">
                  <c:v>0.16192000000000001</c:v>
                </c:pt>
                <c:pt idx="322">
                  <c:v>0.16207999999999997</c:v>
                </c:pt>
                <c:pt idx="323">
                  <c:v>0.16147999999999998</c:v>
                </c:pt>
                <c:pt idx="324">
                  <c:v>0.1593</c:v>
                </c:pt>
                <c:pt idx="325">
                  <c:v>0.157</c:v>
                </c:pt>
                <c:pt idx="326">
                  <c:v>0.15617</c:v>
                </c:pt>
                <c:pt idx="327">
                  <c:v>0.15628999999999998</c:v>
                </c:pt>
                <c:pt idx="328">
                  <c:v>0.15593000000000001</c:v>
                </c:pt>
                <c:pt idx="329">
                  <c:v>0.15540999999999999</c:v>
                </c:pt>
                <c:pt idx="330">
                  <c:v>0.15558</c:v>
                </c:pt>
                <c:pt idx="331">
                  <c:v>0.15648000000000001</c:v>
                </c:pt>
                <c:pt idx="332">
                  <c:v>0.16068000000000002</c:v>
                </c:pt>
                <c:pt idx="333">
                  <c:v>0.16144999999999998</c:v>
                </c:pt>
                <c:pt idx="334">
                  <c:v>0.16444</c:v>
                </c:pt>
                <c:pt idx="335">
                  <c:v>0.16728999999999999</c:v>
                </c:pt>
                <c:pt idx="336">
                  <c:v>0.16750000000000001</c:v>
                </c:pt>
                <c:pt idx="337">
                  <c:v>0.16866</c:v>
                </c:pt>
                <c:pt idx="338">
                  <c:v>0.17208999999999999</c:v>
                </c:pt>
                <c:pt idx="339">
                  <c:v>0.17457999999999999</c:v>
                </c:pt>
                <c:pt idx="340">
                  <c:v>0.17745999999999998</c:v>
                </c:pt>
                <c:pt idx="341">
                  <c:v>0.1827</c:v>
                </c:pt>
                <c:pt idx="342">
                  <c:v>0.18510000000000001</c:v>
                </c:pt>
                <c:pt idx="343">
                  <c:v>0.19105</c:v>
                </c:pt>
                <c:pt idx="344">
                  <c:v>0.19183</c:v>
                </c:pt>
                <c:pt idx="345">
                  <c:v>0.19206000000000001</c:v>
                </c:pt>
                <c:pt idx="346">
                  <c:v>0.19505</c:v>
                </c:pt>
                <c:pt idx="347">
                  <c:v>0.20416000000000001</c:v>
                </c:pt>
                <c:pt idx="348">
                  <c:v>0.20899000000000001</c:v>
                </c:pt>
                <c:pt idx="349">
                  <c:v>0.22545000000000001</c:v>
                </c:pt>
                <c:pt idx="350">
                  <c:v>0.22158</c:v>
                </c:pt>
                <c:pt idx="351">
                  <c:v>0.22319</c:v>
                </c:pt>
                <c:pt idx="352">
                  <c:v>0.22045000000000001</c:v>
                </c:pt>
                <c:pt idx="353">
                  <c:v>0.23111999999999999</c:v>
                </c:pt>
                <c:pt idx="354">
                  <c:v>0.2324</c:v>
                </c:pt>
                <c:pt idx="355">
                  <c:v>0.22457999999999997</c:v>
                </c:pt>
                <c:pt idx="356">
                  <c:v>0.22258</c:v>
                </c:pt>
                <c:pt idx="357">
                  <c:v>0.21384</c:v>
                </c:pt>
                <c:pt idx="358">
                  <c:v>0.20926999999999998</c:v>
                </c:pt>
                <c:pt idx="359">
                  <c:v>0.20934999999999998</c:v>
                </c:pt>
                <c:pt idx="360">
                  <c:v>0.2104</c:v>
                </c:pt>
                <c:pt idx="361">
                  <c:v>0.21184</c:v>
                </c:pt>
                <c:pt idx="362">
                  <c:v>0.21230000000000002</c:v>
                </c:pt>
                <c:pt idx="363">
                  <c:v>0.20864999999999997</c:v>
                </c:pt>
                <c:pt idx="364">
                  <c:v>0.20608000000000001</c:v>
                </c:pt>
                <c:pt idx="365">
                  <c:v>0.20393</c:v>
                </c:pt>
                <c:pt idx="366">
                  <c:v>0.20315999999999998</c:v>
                </c:pt>
                <c:pt idx="367">
                  <c:v>0.20372000000000001</c:v>
                </c:pt>
                <c:pt idx="368">
                  <c:v>0.19850999999999999</c:v>
                </c:pt>
                <c:pt idx="369">
                  <c:v>0.19524999999999998</c:v>
                </c:pt>
                <c:pt idx="370">
                  <c:v>0.19281999999999999</c:v>
                </c:pt>
                <c:pt idx="371">
                  <c:v>0.19231999999999999</c:v>
                </c:pt>
                <c:pt idx="372">
                  <c:v>0.19011</c:v>
                </c:pt>
                <c:pt idx="373">
                  <c:v>0.18463000000000002</c:v>
                </c:pt>
                <c:pt idx="374">
                  <c:v>0.18357999999999999</c:v>
                </c:pt>
                <c:pt idx="375">
                  <c:v>0.18256</c:v>
                </c:pt>
                <c:pt idx="376">
                  <c:v>0.18248999999999999</c:v>
                </c:pt>
                <c:pt idx="377">
                  <c:v>0.18288000000000001</c:v>
                </c:pt>
                <c:pt idx="378">
                  <c:v>0.18239999999999998</c:v>
                </c:pt>
                <c:pt idx="379">
                  <c:v>0.18347000000000002</c:v>
                </c:pt>
                <c:pt idx="380">
                  <c:v>0.18426999999999999</c:v>
                </c:pt>
                <c:pt idx="381">
                  <c:v>0.18379000000000001</c:v>
                </c:pt>
                <c:pt idx="382">
                  <c:v>0.18096000000000001</c:v>
                </c:pt>
                <c:pt idx="383">
                  <c:v>0.17868999999999999</c:v>
                </c:pt>
                <c:pt idx="384">
                  <c:v>0.17896000000000001</c:v>
                </c:pt>
                <c:pt idx="385">
                  <c:v>0.18</c:v>
                </c:pt>
                <c:pt idx="386">
                  <c:v>0.18117</c:v>
                </c:pt>
                <c:pt idx="387">
                  <c:v>0.18227000000000002</c:v>
                </c:pt>
                <c:pt idx="388">
                  <c:v>0.18376000000000001</c:v>
                </c:pt>
                <c:pt idx="389">
                  <c:v>0.18432999999999999</c:v>
                </c:pt>
                <c:pt idx="390">
                  <c:v>0.18410000000000001</c:v>
                </c:pt>
                <c:pt idx="391">
                  <c:v>0.18284</c:v>
                </c:pt>
                <c:pt idx="392">
                  <c:v>0.18184999999999998</c:v>
                </c:pt>
                <c:pt idx="393">
                  <c:v>0.18155000000000002</c:v>
                </c:pt>
                <c:pt idx="394">
                  <c:v>0.17931</c:v>
                </c:pt>
                <c:pt idx="395">
                  <c:v>0.17888999999999999</c:v>
                </c:pt>
                <c:pt idx="396">
                  <c:v>0.17652000000000001</c:v>
                </c:pt>
                <c:pt idx="397">
                  <c:v>0.17454</c:v>
                </c:pt>
                <c:pt idx="398">
                  <c:v>0.17510999999999999</c:v>
                </c:pt>
                <c:pt idx="399">
                  <c:v>0.17559999999999998</c:v>
                </c:pt>
                <c:pt idx="400">
                  <c:v>0.17707000000000001</c:v>
                </c:pt>
                <c:pt idx="401">
                  <c:v>0.17727000000000001</c:v>
                </c:pt>
                <c:pt idx="402">
                  <c:v>0.17871999999999999</c:v>
                </c:pt>
                <c:pt idx="403">
                  <c:v>0.18204000000000001</c:v>
                </c:pt>
                <c:pt idx="404">
                  <c:v>0.18609000000000001</c:v>
                </c:pt>
                <c:pt idx="405">
                  <c:v>0.19036</c:v>
                </c:pt>
                <c:pt idx="406">
                  <c:v>0.19149999999999998</c:v>
                </c:pt>
                <c:pt idx="407">
                  <c:v>0.19447</c:v>
                </c:pt>
                <c:pt idx="408">
                  <c:v>0.19530999999999998</c:v>
                </c:pt>
                <c:pt idx="409">
                  <c:v>0.19408</c:v>
                </c:pt>
                <c:pt idx="410">
                  <c:v>0.19039999999999999</c:v>
                </c:pt>
                <c:pt idx="411">
                  <c:v>0.19082999999999997</c:v>
                </c:pt>
                <c:pt idx="412">
                  <c:v>0.19108</c:v>
                </c:pt>
                <c:pt idx="413">
                  <c:v>0.19172</c:v>
                </c:pt>
                <c:pt idx="414">
                  <c:v>0.19497</c:v>
                </c:pt>
                <c:pt idx="415">
                  <c:v>0.19586999999999999</c:v>
                </c:pt>
                <c:pt idx="416">
                  <c:v>0.19902999999999998</c:v>
                </c:pt>
                <c:pt idx="417">
                  <c:v>0.19927</c:v>
                </c:pt>
                <c:pt idx="418">
                  <c:v>0.19943000000000002</c:v>
                </c:pt>
                <c:pt idx="419">
                  <c:v>0.19835999999999998</c:v>
                </c:pt>
                <c:pt idx="420">
                  <c:v>0.20001000000000002</c:v>
                </c:pt>
                <c:pt idx="421">
                  <c:v>0.19950999999999999</c:v>
                </c:pt>
                <c:pt idx="422">
                  <c:v>0.20032</c:v>
                </c:pt>
                <c:pt idx="423">
                  <c:v>0.20001999999999998</c:v>
                </c:pt>
                <c:pt idx="424">
                  <c:v>0.19861000000000001</c:v>
                </c:pt>
                <c:pt idx="425">
                  <c:v>0.19596</c:v>
                </c:pt>
                <c:pt idx="426">
                  <c:v>0.19495999999999999</c:v>
                </c:pt>
                <c:pt idx="427">
                  <c:v>0.19332000000000002</c:v>
                </c:pt>
                <c:pt idx="428">
                  <c:v>0.18994</c:v>
                </c:pt>
                <c:pt idx="429">
                  <c:v>0.18847999999999998</c:v>
                </c:pt>
                <c:pt idx="430">
                  <c:v>0.18713000000000002</c:v>
                </c:pt>
                <c:pt idx="431">
                  <c:v>0.18844000000000002</c:v>
                </c:pt>
                <c:pt idx="432">
                  <c:v>0.18838999999999997</c:v>
                </c:pt>
                <c:pt idx="433">
                  <c:v>0.18804999999999999</c:v>
                </c:pt>
                <c:pt idx="434">
                  <c:v>0.1852</c:v>
                </c:pt>
                <c:pt idx="435">
                  <c:v>0.18423999999999999</c:v>
                </c:pt>
                <c:pt idx="436">
                  <c:v>0.18318000000000001</c:v>
                </c:pt>
                <c:pt idx="437">
                  <c:v>0.17973</c:v>
                </c:pt>
                <c:pt idx="438">
                  <c:v>0.17454999999999998</c:v>
                </c:pt>
                <c:pt idx="439">
                  <c:v>0.17130999999999999</c:v>
                </c:pt>
                <c:pt idx="440">
                  <c:v>0.17093</c:v>
                </c:pt>
                <c:pt idx="441">
                  <c:v>0.16934000000000002</c:v>
                </c:pt>
                <c:pt idx="442">
                  <c:v>0.16820000000000002</c:v>
                </c:pt>
                <c:pt idx="443">
                  <c:v>0.16664999999999999</c:v>
                </c:pt>
                <c:pt idx="444">
                  <c:v>0.16677</c:v>
                </c:pt>
                <c:pt idx="445">
                  <c:v>0.16631000000000001</c:v>
                </c:pt>
                <c:pt idx="446">
                  <c:v>0.16359000000000001</c:v>
                </c:pt>
                <c:pt idx="447">
                  <c:v>0.16103000000000001</c:v>
                </c:pt>
                <c:pt idx="448">
                  <c:v>0.16018000000000002</c:v>
                </c:pt>
                <c:pt idx="449">
                  <c:v>0.15804000000000001</c:v>
                </c:pt>
                <c:pt idx="450">
                  <c:v>0.15460000000000002</c:v>
                </c:pt>
                <c:pt idx="451">
                  <c:v>0.15304999999999999</c:v>
                </c:pt>
                <c:pt idx="452">
                  <c:v>0.15313000000000002</c:v>
                </c:pt>
                <c:pt idx="453">
                  <c:v>0.15231999999999998</c:v>
                </c:pt>
                <c:pt idx="454">
                  <c:v>0.15118000000000001</c:v>
                </c:pt>
                <c:pt idx="455">
                  <c:v>0.15012999999999999</c:v>
                </c:pt>
                <c:pt idx="456">
                  <c:v>0.14941000000000002</c:v>
                </c:pt>
                <c:pt idx="457">
                  <c:v>0.14705000000000001</c:v>
                </c:pt>
                <c:pt idx="458">
                  <c:v>0.1449</c:v>
                </c:pt>
                <c:pt idx="459">
                  <c:v>0.14323</c:v>
                </c:pt>
                <c:pt idx="460">
                  <c:v>0.14305000000000001</c:v>
                </c:pt>
                <c:pt idx="461">
                  <c:v>0.14229</c:v>
                </c:pt>
                <c:pt idx="462">
                  <c:v>0.14137</c:v>
                </c:pt>
                <c:pt idx="463">
                  <c:v>0.14011999999999999</c:v>
                </c:pt>
                <c:pt idx="464">
                  <c:v>0.13976</c:v>
                </c:pt>
                <c:pt idx="465">
                  <c:v>0.13919000000000001</c:v>
                </c:pt>
                <c:pt idx="466">
                  <c:v>0.13918</c:v>
                </c:pt>
                <c:pt idx="467">
                  <c:v>0.13875999999999999</c:v>
                </c:pt>
                <c:pt idx="468">
                  <c:v>0.13816000000000001</c:v>
                </c:pt>
                <c:pt idx="469">
                  <c:v>0.13735</c:v>
                </c:pt>
                <c:pt idx="470">
                  <c:v>0.13497000000000001</c:v>
                </c:pt>
                <c:pt idx="471">
                  <c:v>0.13400999999999999</c:v>
                </c:pt>
                <c:pt idx="472">
                  <c:v>0.13409000000000001</c:v>
                </c:pt>
                <c:pt idx="473">
                  <c:v>0.13367000000000001</c:v>
                </c:pt>
                <c:pt idx="474">
                  <c:v>0.13287000000000002</c:v>
                </c:pt>
                <c:pt idx="475">
                  <c:v>0.13275999999999999</c:v>
                </c:pt>
                <c:pt idx="476">
                  <c:v>0.13188</c:v>
                </c:pt>
                <c:pt idx="477">
                  <c:v>0.13141</c:v>
                </c:pt>
                <c:pt idx="478">
                  <c:v>0.13131999999999999</c:v>
                </c:pt>
                <c:pt idx="479">
                  <c:v>0.13014000000000001</c:v>
                </c:pt>
                <c:pt idx="480">
                  <c:v>0.12787000000000001</c:v>
                </c:pt>
                <c:pt idx="481">
                  <c:v>0.12954000000000002</c:v>
                </c:pt>
                <c:pt idx="482">
                  <c:v>0.12973999999999999</c:v>
                </c:pt>
                <c:pt idx="483">
                  <c:v>0.12852</c:v>
                </c:pt>
                <c:pt idx="484">
                  <c:v>0.12592</c:v>
                </c:pt>
                <c:pt idx="485">
                  <c:v>0.12381</c:v>
                </c:pt>
                <c:pt idx="486">
                  <c:v>0.12285</c:v>
                </c:pt>
                <c:pt idx="487">
                  <c:v>0.12240000000000001</c:v>
                </c:pt>
                <c:pt idx="488">
                  <c:v>0.12121</c:v>
                </c:pt>
                <c:pt idx="489">
                  <c:v>0.12028</c:v>
                </c:pt>
                <c:pt idx="490">
                  <c:v>0.11807000000000001</c:v>
                </c:pt>
                <c:pt idx="491">
                  <c:v>0.11586</c:v>
                </c:pt>
                <c:pt idx="492">
                  <c:v>0.11512</c:v>
                </c:pt>
                <c:pt idx="493">
                  <c:v>0.11586</c:v>
                </c:pt>
                <c:pt idx="494">
                  <c:v>0.11721999999999999</c:v>
                </c:pt>
                <c:pt idx="495">
                  <c:v>0.11759</c:v>
                </c:pt>
                <c:pt idx="496">
                  <c:v>0.11796</c:v>
                </c:pt>
                <c:pt idx="497">
                  <c:v>0.11851</c:v>
                </c:pt>
                <c:pt idx="498">
                  <c:v>0.11853999999999999</c:v>
                </c:pt>
                <c:pt idx="499">
                  <c:v>0.11889</c:v>
                </c:pt>
                <c:pt idx="500">
                  <c:v>0.11933999999999999</c:v>
                </c:pt>
                <c:pt idx="501">
                  <c:v>0.11923</c:v>
                </c:pt>
                <c:pt idx="502">
                  <c:v>0.11993000000000001</c:v>
                </c:pt>
                <c:pt idx="503">
                  <c:v>0.12025999999999999</c:v>
                </c:pt>
                <c:pt idx="504">
                  <c:v>0.12076000000000001</c:v>
                </c:pt>
                <c:pt idx="505">
                  <c:v>0.12079000000000001</c:v>
                </c:pt>
                <c:pt idx="506">
                  <c:v>0.12077</c:v>
                </c:pt>
                <c:pt idx="507">
                  <c:v>0.12037</c:v>
                </c:pt>
                <c:pt idx="508">
                  <c:v>0.11997999999999999</c:v>
                </c:pt>
                <c:pt idx="509">
                  <c:v>0.12037</c:v>
                </c:pt>
                <c:pt idx="510">
                  <c:v>0.12156</c:v>
                </c:pt>
                <c:pt idx="511">
                  <c:v>0.12188</c:v>
                </c:pt>
                <c:pt idx="512">
                  <c:v>0.12199</c:v>
                </c:pt>
                <c:pt idx="513">
                  <c:v>0.12275999999999999</c:v>
                </c:pt>
                <c:pt idx="514">
                  <c:v>0.12307</c:v>
                </c:pt>
                <c:pt idx="515">
                  <c:v>0.12403</c:v>
                </c:pt>
                <c:pt idx="516">
                  <c:v>0.12497</c:v>
                </c:pt>
                <c:pt idx="517">
                  <c:v>0.12622</c:v>
                </c:pt>
                <c:pt idx="518">
                  <c:v>0.12697</c:v>
                </c:pt>
                <c:pt idx="519">
                  <c:v>0.12897</c:v>
                </c:pt>
                <c:pt idx="520">
                  <c:v>0.12992999999999999</c:v>
                </c:pt>
                <c:pt idx="521">
                  <c:v>0.13028000000000001</c:v>
                </c:pt>
                <c:pt idx="522">
                  <c:v>0.13089000000000001</c:v>
                </c:pt>
                <c:pt idx="523">
                  <c:v>0.13117999999999999</c:v>
                </c:pt>
                <c:pt idx="524">
                  <c:v>0.13268000000000002</c:v>
                </c:pt>
                <c:pt idx="525">
                  <c:v>0.13442000000000001</c:v>
                </c:pt>
                <c:pt idx="526">
                  <c:v>0.13671</c:v>
                </c:pt>
                <c:pt idx="527">
                  <c:v>0.1386</c:v>
                </c:pt>
                <c:pt idx="528">
                  <c:v>0.13915</c:v>
                </c:pt>
                <c:pt idx="529">
                  <c:v>0.13913999999999999</c:v>
                </c:pt>
                <c:pt idx="530">
                  <c:v>0.13763</c:v>
                </c:pt>
                <c:pt idx="531">
                  <c:v>0.13672000000000001</c:v>
                </c:pt>
                <c:pt idx="532">
                  <c:v>0.13628999999999999</c:v>
                </c:pt>
                <c:pt idx="533">
                  <c:v>0.13686000000000001</c:v>
                </c:pt>
                <c:pt idx="534">
                  <c:v>0.13880999999999999</c:v>
                </c:pt>
                <c:pt idx="535">
                  <c:v>0.13952999999999999</c:v>
                </c:pt>
                <c:pt idx="536">
                  <c:v>0.13811999999999999</c:v>
                </c:pt>
                <c:pt idx="537">
                  <c:v>0.13329000000000002</c:v>
                </c:pt>
                <c:pt idx="538">
                  <c:v>0.13076000000000002</c:v>
                </c:pt>
                <c:pt idx="539">
                  <c:v>0.13077</c:v>
                </c:pt>
                <c:pt idx="540">
                  <c:v>0.12639</c:v>
                </c:pt>
                <c:pt idx="541">
                  <c:v>0.12714999999999999</c:v>
                </c:pt>
                <c:pt idx="542">
                  <c:v>0.12795999999999999</c:v>
                </c:pt>
                <c:pt idx="543">
                  <c:v>0.13016</c:v>
                </c:pt>
                <c:pt idx="544">
                  <c:v>0.13124</c:v>
                </c:pt>
                <c:pt idx="545">
                  <c:v>0.13195999999999999</c:v>
                </c:pt>
                <c:pt idx="546">
                  <c:v>0.13436000000000001</c:v>
                </c:pt>
                <c:pt idx="547">
                  <c:v>0.1368</c:v>
                </c:pt>
                <c:pt idx="548">
                  <c:v>0.13791999999999999</c:v>
                </c:pt>
                <c:pt idx="549">
                  <c:v>0.13904</c:v>
                </c:pt>
                <c:pt idx="550">
                  <c:v>0.13909000000000002</c:v>
                </c:pt>
                <c:pt idx="551">
                  <c:v>0.13946999999999998</c:v>
                </c:pt>
                <c:pt idx="552">
                  <c:v>0.14029</c:v>
                </c:pt>
                <c:pt idx="553">
                  <c:v>0.13964000000000001</c:v>
                </c:pt>
                <c:pt idx="554">
                  <c:v>0.13958999999999999</c:v>
                </c:pt>
                <c:pt idx="555">
                  <c:v>0.13910999999999998</c:v>
                </c:pt>
                <c:pt idx="556">
                  <c:v>0.13864000000000001</c:v>
                </c:pt>
                <c:pt idx="557">
                  <c:v>0.13793</c:v>
                </c:pt>
                <c:pt idx="558">
                  <c:v>0.13686000000000001</c:v>
                </c:pt>
                <c:pt idx="559">
                  <c:v>0.13650999999999999</c:v>
                </c:pt>
                <c:pt idx="560">
                  <c:v>0.13542999999999999</c:v>
                </c:pt>
                <c:pt idx="561">
                  <c:v>0.1353</c:v>
                </c:pt>
                <c:pt idx="562">
                  <c:v>0.13500999999999999</c:v>
                </c:pt>
                <c:pt idx="563">
                  <c:v>0.13444</c:v>
                </c:pt>
                <c:pt idx="564">
                  <c:v>0.13403000000000001</c:v>
                </c:pt>
                <c:pt idx="565">
                  <c:v>0.13369</c:v>
                </c:pt>
                <c:pt idx="566">
                  <c:v>0.13253999999999999</c:v>
                </c:pt>
                <c:pt idx="567">
                  <c:v>0.13202999999999998</c:v>
                </c:pt>
                <c:pt idx="568">
                  <c:v>0.13106999999999999</c:v>
                </c:pt>
                <c:pt idx="569">
                  <c:v>0.13109000000000001</c:v>
                </c:pt>
                <c:pt idx="570">
                  <c:v>0.13122999999999999</c:v>
                </c:pt>
                <c:pt idx="571">
                  <c:v>0.13023999999999999</c:v>
                </c:pt>
                <c:pt idx="572">
                  <c:v>0.12944</c:v>
                </c:pt>
                <c:pt idx="573">
                  <c:v>0.12976000000000001</c:v>
                </c:pt>
                <c:pt idx="574">
                  <c:v>0.12952</c:v>
                </c:pt>
                <c:pt idx="575">
                  <c:v>0.12954000000000002</c:v>
                </c:pt>
                <c:pt idx="576">
                  <c:v>0.12852</c:v>
                </c:pt>
                <c:pt idx="577">
                  <c:v>0.12695000000000001</c:v>
                </c:pt>
                <c:pt idx="578">
                  <c:v>0.12653999999999999</c:v>
                </c:pt>
                <c:pt idx="579">
                  <c:v>0.12625999999999998</c:v>
                </c:pt>
                <c:pt idx="580">
                  <c:v>0.12523000000000001</c:v>
                </c:pt>
                <c:pt idx="581">
                  <c:v>0.12252</c:v>
                </c:pt>
                <c:pt idx="582">
                  <c:v>0.12205000000000001</c:v>
                </c:pt>
                <c:pt idx="583">
                  <c:v>0.12208000000000001</c:v>
                </c:pt>
                <c:pt idx="584">
                  <c:v>0.12138</c:v>
                </c:pt>
                <c:pt idx="585">
                  <c:v>0.12053000000000001</c:v>
                </c:pt>
                <c:pt idx="586">
                  <c:v>0.11903999999999999</c:v>
                </c:pt>
                <c:pt idx="587">
                  <c:v>0.11686000000000001</c:v>
                </c:pt>
                <c:pt idx="588">
                  <c:v>0.11647</c:v>
                </c:pt>
                <c:pt idx="589">
                  <c:v>0.11454</c:v>
                </c:pt>
                <c:pt idx="590">
                  <c:v>0.11351000000000001</c:v>
                </c:pt>
                <c:pt idx="591">
                  <c:v>0.11275</c:v>
                </c:pt>
                <c:pt idx="592">
                  <c:v>0.11237</c:v>
                </c:pt>
                <c:pt idx="593">
                  <c:v>0.11185</c:v>
                </c:pt>
                <c:pt idx="594">
                  <c:v>0.11033</c:v>
                </c:pt>
                <c:pt idx="595">
                  <c:v>0.10981</c:v>
                </c:pt>
                <c:pt idx="596">
                  <c:v>0.11076000000000001</c:v>
                </c:pt>
                <c:pt idx="597">
                  <c:v>0.11114</c:v>
                </c:pt>
                <c:pt idx="598">
                  <c:v>0.11026999999999999</c:v>
                </c:pt>
                <c:pt idx="599">
                  <c:v>0.10939</c:v>
                </c:pt>
                <c:pt idx="600">
                  <c:v>0.10781</c:v>
                </c:pt>
                <c:pt idx="601">
                  <c:v>0.10678000000000001</c:v>
                </c:pt>
                <c:pt idx="602">
                  <c:v>0.10651999999999999</c:v>
                </c:pt>
                <c:pt idx="603">
                  <c:v>0.10640000000000001</c:v>
                </c:pt>
                <c:pt idx="604">
                  <c:v>0.10580000000000001</c:v>
                </c:pt>
                <c:pt idx="605">
                  <c:v>0.10442</c:v>
                </c:pt>
                <c:pt idx="606">
                  <c:v>0.10407</c:v>
                </c:pt>
                <c:pt idx="607">
                  <c:v>0.10358000000000001</c:v>
                </c:pt>
                <c:pt idx="608">
                  <c:v>0.10331</c:v>
                </c:pt>
                <c:pt idx="609">
                  <c:v>0.10299</c:v>
                </c:pt>
                <c:pt idx="610">
                  <c:v>0.10255</c:v>
                </c:pt>
                <c:pt idx="611">
                  <c:v>0.10147</c:v>
                </c:pt>
                <c:pt idx="612">
                  <c:v>0.10128</c:v>
                </c:pt>
                <c:pt idx="613">
                  <c:v>0.10051</c:v>
                </c:pt>
                <c:pt idx="614">
                  <c:v>0.10053000000000001</c:v>
                </c:pt>
                <c:pt idx="615">
                  <c:v>0.1009</c:v>
                </c:pt>
                <c:pt idx="616">
                  <c:v>0.10163</c:v>
                </c:pt>
                <c:pt idx="617">
                  <c:v>0.1018</c:v>
                </c:pt>
                <c:pt idx="618">
                  <c:v>0.10269</c:v>
                </c:pt>
                <c:pt idx="619">
                  <c:v>0.10337</c:v>
                </c:pt>
                <c:pt idx="620">
                  <c:v>0.10460000000000001</c:v>
                </c:pt>
                <c:pt idx="621">
                  <c:v>0.10554000000000001</c:v>
                </c:pt>
                <c:pt idx="622">
                  <c:v>0.10573</c:v>
                </c:pt>
                <c:pt idx="623">
                  <c:v>0.11127000000000001</c:v>
                </c:pt>
                <c:pt idx="624">
                  <c:v>0.11179</c:v>
                </c:pt>
                <c:pt idx="625">
                  <c:v>0.11211</c:v>
                </c:pt>
                <c:pt idx="626">
                  <c:v>0.11183999999999999</c:v>
                </c:pt>
                <c:pt idx="627">
                  <c:v>0.11135</c:v>
                </c:pt>
                <c:pt idx="628">
                  <c:v>0.11114</c:v>
                </c:pt>
                <c:pt idx="629">
                  <c:v>0.11090999999999999</c:v>
                </c:pt>
                <c:pt idx="630">
                  <c:v>0.11010999999999999</c:v>
                </c:pt>
                <c:pt idx="631">
                  <c:v>0.1099</c:v>
                </c:pt>
                <c:pt idx="632">
                  <c:v>0.10923999999999999</c:v>
                </c:pt>
                <c:pt idx="633">
                  <c:v>0.10888999999999999</c:v>
                </c:pt>
                <c:pt idx="634">
                  <c:v>0.10885</c:v>
                </c:pt>
                <c:pt idx="635">
                  <c:v>0.10884000000000001</c:v>
                </c:pt>
                <c:pt idx="636">
                  <c:v>0.10858000000000001</c:v>
                </c:pt>
                <c:pt idx="637">
                  <c:v>0.10845</c:v>
                </c:pt>
                <c:pt idx="638">
                  <c:v>0.10846</c:v>
                </c:pt>
                <c:pt idx="639">
                  <c:v>0.10893000000000001</c:v>
                </c:pt>
                <c:pt idx="640">
                  <c:v>0.10925000000000001</c:v>
                </c:pt>
                <c:pt idx="641">
                  <c:v>0.10958</c:v>
                </c:pt>
                <c:pt idx="642">
                  <c:v>0.11073000000000001</c:v>
                </c:pt>
                <c:pt idx="643">
                  <c:v>0.11134000000000001</c:v>
                </c:pt>
                <c:pt idx="644">
                  <c:v>0.11156000000000001</c:v>
                </c:pt>
                <c:pt idx="645">
                  <c:v>0.11134000000000001</c:v>
                </c:pt>
                <c:pt idx="646">
                  <c:v>0.11112</c:v>
                </c:pt>
                <c:pt idx="647">
                  <c:v>0.11115999999999999</c:v>
                </c:pt>
                <c:pt idx="648">
                  <c:v>0.11112999999999999</c:v>
                </c:pt>
                <c:pt idx="649">
                  <c:v>0.11119</c:v>
                </c:pt>
                <c:pt idx="650">
                  <c:v>0.11198000000000001</c:v>
                </c:pt>
                <c:pt idx="651">
                  <c:v>0.11262999999999999</c:v>
                </c:pt>
                <c:pt idx="652">
                  <c:v>0.11458</c:v>
                </c:pt>
                <c:pt idx="653">
                  <c:v>0.11467000000000001</c:v>
                </c:pt>
                <c:pt idx="654">
                  <c:v>0.11535000000000001</c:v>
                </c:pt>
                <c:pt idx="655">
                  <c:v>0.11677</c:v>
                </c:pt>
                <c:pt idx="656">
                  <c:v>0.11932000000000001</c:v>
                </c:pt>
                <c:pt idx="657">
                  <c:v>0.12161</c:v>
                </c:pt>
                <c:pt idx="658">
                  <c:v>0.12325</c:v>
                </c:pt>
                <c:pt idx="659">
                  <c:v>0.12428</c:v>
                </c:pt>
                <c:pt idx="660">
                  <c:v>0.12770000000000001</c:v>
                </c:pt>
                <c:pt idx="661">
                  <c:v>0.12870999999999999</c:v>
                </c:pt>
                <c:pt idx="662">
                  <c:v>0.12707000000000002</c:v>
                </c:pt>
                <c:pt idx="663">
                  <c:v>0.12664999999999998</c:v>
                </c:pt>
                <c:pt idx="664">
                  <c:v>0.12655</c:v>
                </c:pt>
                <c:pt idx="665">
                  <c:v>0.12731000000000001</c:v>
                </c:pt>
                <c:pt idx="666">
                  <c:v>0.12762999999999999</c:v>
                </c:pt>
                <c:pt idx="667">
                  <c:v>0.12692000000000001</c:v>
                </c:pt>
                <c:pt idx="668">
                  <c:v>0.12526999999999999</c:v>
                </c:pt>
                <c:pt idx="669">
                  <c:v>0.12393999999999999</c:v>
                </c:pt>
                <c:pt idx="670">
                  <c:v>0.122</c:v>
                </c:pt>
                <c:pt idx="671">
                  <c:v>0.12773000000000001</c:v>
                </c:pt>
                <c:pt idx="672">
                  <c:v>0.12734000000000001</c:v>
                </c:pt>
                <c:pt idx="673">
                  <c:v>0.12570000000000001</c:v>
                </c:pt>
                <c:pt idx="674">
                  <c:v>0.12389</c:v>
                </c:pt>
                <c:pt idx="675">
                  <c:v>0.12311999999999999</c:v>
                </c:pt>
                <c:pt idx="676">
                  <c:v>0.12176999999999999</c:v>
                </c:pt>
                <c:pt idx="677">
                  <c:v>0.12078</c:v>
                </c:pt>
                <c:pt idx="678">
                  <c:v>0.11982</c:v>
                </c:pt>
                <c:pt idx="679">
                  <c:v>0.11912</c:v>
                </c:pt>
                <c:pt idx="680">
                  <c:v>0.11872999999999999</c:v>
                </c:pt>
                <c:pt idx="681">
                  <c:v>0.11856999999999999</c:v>
                </c:pt>
              </c:numCache>
            </c:numRef>
          </c:val>
          <c:smooth val="0"/>
          <c:extLst>
            <c:ext xmlns:c16="http://schemas.microsoft.com/office/drawing/2014/chart" uri="{C3380CC4-5D6E-409C-BE32-E72D297353CC}">
              <c16:uniqueId val="{00000000-EF21-684C-8F47-470F32FBF1FC}"/>
            </c:ext>
          </c:extLst>
        </c:ser>
        <c:ser>
          <c:idx val="1"/>
          <c:order val="1"/>
          <c:tx>
            <c:strRef>
              <c:f>Hoja1!$C$1</c:f>
              <c:strCache>
                <c:ptCount val="1"/>
                <c:pt idx="0">
                  <c:v>Pemex</c:v>
                </c:pt>
              </c:strCache>
            </c:strRef>
          </c:tx>
          <c:spPr>
            <a:ln w="28575" cap="rnd">
              <a:solidFill>
                <a:schemeClr val="accent2"/>
              </a:solidFill>
              <a:round/>
            </a:ln>
            <a:effectLst/>
          </c:spPr>
          <c:marker>
            <c:symbol val="none"/>
          </c:marker>
          <c:cat>
            <c:numRef>
              <c:f>Hoja1!$A$2:$A$683</c:f>
              <c:numCache>
                <c:formatCode>m/d/yy</c:formatCode>
                <c:ptCount val="682"/>
                <c:pt idx="0">
                  <c:v>44243</c:v>
                </c:pt>
                <c:pt idx="1">
                  <c:v>44244</c:v>
                </c:pt>
                <c:pt idx="2">
                  <c:v>44245</c:v>
                </c:pt>
                <c:pt idx="3">
                  <c:v>44246</c:v>
                </c:pt>
                <c:pt idx="4">
                  <c:v>44249</c:v>
                </c:pt>
                <c:pt idx="5">
                  <c:v>44250</c:v>
                </c:pt>
                <c:pt idx="6">
                  <c:v>44251</c:v>
                </c:pt>
                <c:pt idx="7">
                  <c:v>44252</c:v>
                </c:pt>
                <c:pt idx="8">
                  <c:v>44253</c:v>
                </c:pt>
                <c:pt idx="9">
                  <c:v>44256</c:v>
                </c:pt>
                <c:pt idx="10">
                  <c:v>44257</c:v>
                </c:pt>
                <c:pt idx="11">
                  <c:v>44258</c:v>
                </c:pt>
                <c:pt idx="12">
                  <c:v>44259</c:v>
                </c:pt>
                <c:pt idx="13">
                  <c:v>44260</c:v>
                </c:pt>
                <c:pt idx="14">
                  <c:v>44263</c:v>
                </c:pt>
                <c:pt idx="15">
                  <c:v>44264</c:v>
                </c:pt>
                <c:pt idx="16">
                  <c:v>44265</c:v>
                </c:pt>
                <c:pt idx="17">
                  <c:v>44266</c:v>
                </c:pt>
                <c:pt idx="18">
                  <c:v>44267</c:v>
                </c:pt>
                <c:pt idx="19">
                  <c:v>44270</c:v>
                </c:pt>
                <c:pt idx="20">
                  <c:v>44271</c:v>
                </c:pt>
                <c:pt idx="21">
                  <c:v>44272</c:v>
                </c:pt>
                <c:pt idx="22">
                  <c:v>44273</c:v>
                </c:pt>
                <c:pt idx="23">
                  <c:v>44274</c:v>
                </c:pt>
                <c:pt idx="24">
                  <c:v>44277</c:v>
                </c:pt>
                <c:pt idx="25">
                  <c:v>44278</c:v>
                </c:pt>
                <c:pt idx="26">
                  <c:v>44279</c:v>
                </c:pt>
                <c:pt idx="27">
                  <c:v>44280</c:v>
                </c:pt>
                <c:pt idx="28">
                  <c:v>44281</c:v>
                </c:pt>
                <c:pt idx="29">
                  <c:v>44284</c:v>
                </c:pt>
                <c:pt idx="30">
                  <c:v>44285</c:v>
                </c:pt>
                <c:pt idx="31">
                  <c:v>44286</c:v>
                </c:pt>
                <c:pt idx="32">
                  <c:v>44287</c:v>
                </c:pt>
                <c:pt idx="33">
                  <c:v>44291</c:v>
                </c:pt>
                <c:pt idx="34">
                  <c:v>44292</c:v>
                </c:pt>
                <c:pt idx="35">
                  <c:v>44293</c:v>
                </c:pt>
                <c:pt idx="36">
                  <c:v>44294</c:v>
                </c:pt>
                <c:pt idx="37">
                  <c:v>44295</c:v>
                </c:pt>
                <c:pt idx="38">
                  <c:v>44298</c:v>
                </c:pt>
                <c:pt idx="39">
                  <c:v>44299</c:v>
                </c:pt>
                <c:pt idx="40">
                  <c:v>44300</c:v>
                </c:pt>
                <c:pt idx="41">
                  <c:v>44301</c:v>
                </c:pt>
                <c:pt idx="42">
                  <c:v>44302</c:v>
                </c:pt>
                <c:pt idx="43">
                  <c:v>44305</c:v>
                </c:pt>
                <c:pt idx="44">
                  <c:v>44306</c:v>
                </c:pt>
                <c:pt idx="45">
                  <c:v>44307</c:v>
                </c:pt>
                <c:pt idx="46">
                  <c:v>44308</c:v>
                </c:pt>
                <c:pt idx="47">
                  <c:v>44309</c:v>
                </c:pt>
                <c:pt idx="48">
                  <c:v>44312</c:v>
                </c:pt>
                <c:pt idx="49">
                  <c:v>44313</c:v>
                </c:pt>
                <c:pt idx="50">
                  <c:v>44314</c:v>
                </c:pt>
                <c:pt idx="51">
                  <c:v>44315</c:v>
                </c:pt>
                <c:pt idx="52">
                  <c:v>44316</c:v>
                </c:pt>
                <c:pt idx="53">
                  <c:v>44319</c:v>
                </c:pt>
                <c:pt idx="54">
                  <c:v>44320</c:v>
                </c:pt>
                <c:pt idx="55">
                  <c:v>44321</c:v>
                </c:pt>
                <c:pt idx="56">
                  <c:v>44322</c:v>
                </c:pt>
                <c:pt idx="57">
                  <c:v>44323</c:v>
                </c:pt>
                <c:pt idx="58">
                  <c:v>44326</c:v>
                </c:pt>
                <c:pt idx="59">
                  <c:v>44327</c:v>
                </c:pt>
                <c:pt idx="60">
                  <c:v>44328</c:v>
                </c:pt>
                <c:pt idx="61">
                  <c:v>44329</c:v>
                </c:pt>
                <c:pt idx="62">
                  <c:v>44330</c:v>
                </c:pt>
                <c:pt idx="63">
                  <c:v>44333</c:v>
                </c:pt>
                <c:pt idx="64">
                  <c:v>44334</c:v>
                </c:pt>
                <c:pt idx="65">
                  <c:v>44335</c:v>
                </c:pt>
                <c:pt idx="66">
                  <c:v>44336</c:v>
                </c:pt>
                <c:pt idx="67">
                  <c:v>44337</c:v>
                </c:pt>
                <c:pt idx="68">
                  <c:v>44340</c:v>
                </c:pt>
                <c:pt idx="69">
                  <c:v>44341</c:v>
                </c:pt>
                <c:pt idx="70">
                  <c:v>44342</c:v>
                </c:pt>
                <c:pt idx="71">
                  <c:v>44343</c:v>
                </c:pt>
                <c:pt idx="72">
                  <c:v>44344</c:v>
                </c:pt>
                <c:pt idx="73">
                  <c:v>44348</c:v>
                </c:pt>
                <c:pt idx="74">
                  <c:v>44349</c:v>
                </c:pt>
                <c:pt idx="75">
                  <c:v>44350</c:v>
                </c:pt>
                <c:pt idx="76">
                  <c:v>44351</c:v>
                </c:pt>
                <c:pt idx="77">
                  <c:v>44354</c:v>
                </c:pt>
                <c:pt idx="78">
                  <c:v>44355</c:v>
                </c:pt>
                <c:pt idx="79">
                  <c:v>44356</c:v>
                </c:pt>
                <c:pt idx="80">
                  <c:v>44357</c:v>
                </c:pt>
                <c:pt idx="81">
                  <c:v>44358</c:v>
                </c:pt>
                <c:pt idx="82">
                  <c:v>44361</c:v>
                </c:pt>
                <c:pt idx="83">
                  <c:v>44362</c:v>
                </c:pt>
                <c:pt idx="84">
                  <c:v>44363</c:v>
                </c:pt>
                <c:pt idx="85">
                  <c:v>44364</c:v>
                </c:pt>
                <c:pt idx="86">
                  <c:v>44365</c:v>
                </c:pt>
                <c:pt idx="87">
                  <c:v>44368</c:v>
                </c:pt>
                <c:pt idx="88">
                  <c:v>44369</c:v>
                </c:pt>
                <c:pt idx="89">
                  <c:v>44370</c:v>
                </c:pt>
                <c:pt idx="90">
                  <c:v>44371</c:v>
                </c:pt>
                <c:pt idx="91">
                  <c:v>44372</c:v>
                </c:pt>
                <c:pt idx="92">
                  <c:v>44375</c:v>
                </c:pt>
                <c:pt idx="93">
                  <c:v>44376</c:v>
                </c:pt>
                <c:pt idx="94">
                  <c:v>44377</c:v>
                </c:pt>
                <c:pt idx="95">
                  <c:v>44378</c:v>
                </c:pt>
                <c:pt idx="96">
                  <c:v>44379</c:v>
                </c:pt>
                <c:pt idx="97">
                  <c:v>44383</c:v>
                </c:pt>
                <c:pt idx="98">
                  <c:v>44384</c:v>
                </c:pt>
                <c:pt idx="99">
                  <c:v>44385</c:v>
                </c:pt>
                <c:pt idx="100">
                  <c:v>44386</c:v>
                </c:pt>
                <c:pt idx="101">
                  <c:v>44389</c:v>
                </c:pt>
                <c:pt idx="102">
                  <c:v>44390</c:v>
                </c:pt>
                <c:pt idx="103">
                  <c:v>44391</c:v>
                </c:pt>
                <c:pt idx="104">
                  <c:v>44392</c:v>
                </c:pt>
                <c:pt idx="105">
                  <c:v>44393</c:v>
                </c:pt>
                <c:pt idx="106">
                  <c:v>44396</c:v>
                </c:pt>
                <c:pt idx="107">
                  <c:v>44397</c:v>
                </c:pt>
                <c:pt idx="108">
                  <c:v>44398</c:v>
                </c:pt>
                <c:pt idx="109">
                  <c:v>44399</c:v>
                </c:pt>
                <c:pt idx="110">
                  <c:v>44400</c:v>
                </c:pt>
                <c:pt idx="111">
                  <c:v>44403</c:v>
                </c:pt>
                <c:pt idx="112">
                  <c:v>44404</c:v>
                </c:pt>
                <c:pt idx="113">
                  <c:v>44405</c:v>
                </c:pt>
                <c:pt idx="114">
                  <c:v>44406</c:v>
                </c:pt>
                <c:pt idx="115">
                  <c:v>44407</c:v>
                </c:pt>
                <c:pt idx="116">
                  <c:v>44410</c:v>
                </c:pt>
                <c:pt idx="117">
                  <c:v>44411</c:v>
                </c:pt>
                <c:pt idx="118">
                  <c:v>44412</c:v>
                </c:pt>
                <c:pt idx="119">
                  <c:v>44413</c:v>
                </c:pt>
                <c:pt idx="120">
                  <c:v>44414</c:v>
                </c:pt>
                <c:pt idx="121">
                  <c:v>44417</c:v>
                </c:pt>
                <c:pt idx="122">
                  <c:v>44418</c:v>
                </c:pt>
                <c:pt idx="123">
                  <c:v>44419</c:v>
                </c:pt>
                <c:pt idx="124">
                  <c:v>44420</c:v>
                </c:pt>
                <c:pt idx="125">
                  <c:v>44421</c:v>
                </c:pt>
                <c:pt idx="126">
                  <c:v>44424</c:v>
                </c:pt>
                <c:pt idx="127">
                  <c:v>44425</c:v>
                </c:pt>
                <c:pt idx="128">
                  <c:v>44426</c:v>
                </c:pt>
                <c:pt idx="129">
                  <c:v>44427</c:v>
                </c:pt>
                <c:pt idx="130">
                  <c:v>44428</c:v>
                </c:pt>
                <c:pt idx="131">
                  <c:v>44431</c:v>
                </c:pt>
                <c:pt idx="132">
                  <c:v>44432</c:v>
                </c:pt>
                <c:pt idx="133">
                  <c:v>44433</c:v>
                </c:pt>
                <c:pt idx="134">
                  <c:v>44434</c:v>
                </c:pt>
                <c:pt idx="135">
                  <c:v>44435</c:v>
                </c:pt>
                <c:pt idx="136">
                  <c:v>44438</c:v>
                </c:pt>
                <c:pt idx="137">
                  <c:v>44439</c:v>
                </c:pt>
                <c:pt idx="138">
                  <c:v>44440</c:v>
                </c:pt>
                <c:pt idx="139">
                  <c:v>44441</c:v>
                </c:pt>
                <c:pt idx="140">
                  <c:v>44442</c:v>
                </c:pt>
                <c:pt idx="141">
                  <c:v>44446</c:v>
                </c:pt>
                <c:pt idx="142">
                  <c:v>44447</c:v>
                </c:pt>
                <c:pt idx="143">
                  <c:v>44448</c:v>
                </c:pt>
                <c:pt idx="144">
                  <c:v>44449</c:v>
                </c:pt>
                <c:pt idx="145">
                  <c:v>44452</c:v>
                </c:pt>
                <c:pt idx="146">
                  <c:v>44453</c:v>
                </c:pt>
                <c:pt idx="147">
                  <c:v>44454</c:v>
                </c:pt>
                <c:pt idx="148">
                  <c:v>44455</c:v>
                </c:pt>
                <c:pt idx="149">
                  <c:v>44456</c:v>
                </c:pt>
                <c:pt idx="150">
                  <c:v>44459</c:v>
                </c:pt>
                <c:pt idx="151">
                  <c:v>44460</c:v>
                </c:pt>
                <c:pt idx="152">
                  <c:v>44461</c:v>
                </c:pt>
                <c:pt idx="153">
                  <c:v>44462</c:v>
                </c:pt>
                <c:pt idx="154">
                  <c:v>44463</c:v>
                </c:pt>
                <c:pt idx="155">
                  <c:v>44466</c:v>
                </c:pt>
                <c:pt idx="156">
                  <c:v>44467</c:v>
                </c:pt>
                <c:pt idx="157">
                  <c:v>44468</c:v>
                </c:pt>
                <c:pt idx="158">
                  <c:v>44469</c:v>
                </c:pt>
                <c:pt idx="159">
                  <c:v>44470</c:v>
                </c:pt>
                <c:pt idx="160">
                  <c:v>44473</c:v>
                </c:pt>
                <c:pt idx="161">
                  <c:v>44474</c:v>
                </c:pt>
                <c:pt idx="162">
                  <c:v>44475</c:v>
                </c:pt>
                <c:pt idx="163">
                  <c:v>44476</c:v>
                </c:pt>
                <c:pt idx="164">
                  <c:v>44477</c:v>
                </c:pt>
                <c:pt idx="165">
                  <c:v>44481</c:v>
                </c:pt>
                <c:pt idx="166">
                  <c:v>44482</c:v>
                </c:pt>
                <c:pt idx="167">
                  <c:v>44483</c:v>
                </c:pt>
                <c:pt idx="168">
                  <c:v>44484</c:v>
                </c:pt>
                <c:pt idx="169">
                  <c:v>44487</c:v>
                </c:pt>
                <c:pt idx="170">
                  <c:v>44488</c:v>
                </c:pt>
                <c:pt idx="171">
                  <c:v>44489</c:v>
                </c:pt>
                <c:pt idx="172">
                  <c:v>44490</c:v>
                </c:pt>
                <c:pt idx="173">
                  <c:v>44491</c:v>
                </c:pt>
                <c:pt idx="174">
                  <c:v>44494</c:v>
                </c:pt>
                <c:pt idx="175">
                  <c:v>44495</c:v>
                </c:pt>
                <c:pt idx="176">
                  <c:v>44496</c:v>
                </c:pt>
                <c:pt idx="177">
                  <c:v>44497</c:v>
                </c:pt>
                <c:pt idx="178">
                  <c:v>44498</c:v>
                </c:pt>
                <c:pt idx="179">
                  <c:v>44501</c:v>
                </c:pt>
                <c:pt idx="180">
                  <c:v>44502</c:v>
                </c:pt>
                <c:pt idx="181">
                  <c:v>44503</c:v>
                </c:pt>
                <c:pt idx="182">
                  <c:v>44504</c:v>
                </c:pt>
                <c:pt idx="183">
                  <c:v>44505</c:v>
                </c:pt>
                <c:pt idx="184">
                  <c:v>44508</c:v>
                </c:pt>
                <c:pt idx="185">
                  <c:v>44509</c:v>
                </c:pt>
                <c:pt idx="186">
                  <c:v>44510</c:v>
                </c:pt>
                <c:pt idx="187">
                  <c:v>44512</c:v>
                </c:pt>
                <c:pt idx="188">
                  <c:v>44515</c:v>
                </c:pt>
                <c:pt idx="189">
                  <c:v>44516</c:v>
                </c:pt>
                <c:pt idx="190">
                  <c:v>44517</c:v>
                </c:pt>
                <c:pt idx="191">
                  <c:v>44518</c:v>
                </c:pt>
                <c:pt idx="192">
                  <c:v>44519</c:v>
                </c:pt>
                <c:pt idx="193">
                  <c:v>44522</c:v>
                </c:pt>
                <c:pt idx="194">
                  <c:v>44523</c:v>
                </c:pt>
                <c:pt idx="195">
                  <c:v>44524</c:v>
                </c:pt>
                <c:pt idx="196">
                  <c:v>44526</c:v>
                </c:pt>
                <c:pt idx="197">
                  <c:v>44529</c:v>
                </c:pt>
                <c:pt idx="198">
                  <c:v>44530</c:v>
                </c:pt>
                <c:pt idx="199">
                  <c:v>44531</c:v>
                </c:pt>
                <c:pt idx="200">
                  <c:v>44532</c:v>
                </c:pt>
                <c:pt idx="201">
                  <c:v>44533</c:v>
                </c:pt>
                <c:pt idx="202">
                  <c:v>44536</c:v>
                </c:pt>
                <c:pt idx="203">
                  <c:v>44537</c:v>
                </c:pt>
                <c:pt idx="204">
                  <c:v>44538</c:v>
                </c:pt>
                <c:pt idx="205">
                  <c:v>44539</c:v>
                </c:pt>
                <c:pt idx="206">
                  <c:v>44540</c:v>
                </c:pt>
                <c:pt idx="207">
                  <c:v>44543</c:v>
                </c:pt>
                <c:pt idx="208">
                  <c:v>44544</c:v>
                </c:pt>
                <c:pt idx="209">
                  <c:v>44545</c:v>
                </c:pt>
                <c:pt idx="210">
                  <c:v>44546</c:v>
                </c:pt>
                <c:pt idx="211">
                  <c:v>44547</c:v>
                </c:pt>
                <c:pt idx="212">
                  <c:v>44550</c:v>
                </c:pt>
                <c:pt idx="213">
                  <c:v>44551</c:v>
                </c:pt>
                <c:pt idx="214">
                  <c:v>44552</c:v>
                </c:pt>
                <c:pt idx="215">
                  <c:v>44553</c:v>
                </c:pt>
                <c:pt idx="216">
                  <c:v>44557</c:v>
                </c:pt>
                <c:pt idx="217">
                  <c:v>44558</c:v>
                </c:pt>
                <c:pt idx="218">
                  <c:v>44559</c:v>
                </c:pt>
                <c:pt idx="219">
                  <c:v>44560</c:v>
                </c:pt>
                <c:pt idx="220">
                  <c:v>44561</c:v>
                </c:pt>
                <c:pt idx="221">
                  <c:v>44564</c:v>
                </c:pt>
                <c:pt idx="222">
                  <c:v>44565</c:v>
                </c:pt>
                <c:pt idx="223">
                  <c:v>44566</c:v>
                </c:pt>
                <c:pt idx="224">
                  <c:v>44567</c:v>
                </c:pt>
                <c:pt idx="225">
                  <c:v>44568</c:v>
                </c:pt>
                <c:pt idx="226">
                  <c:v>44571</c:v>
                </c:pt>
                <c:pt idx="227">
                  <c:v>44572</c:v>
                </c:pt>
                <c:pt idx="228">
                  <c:v>44573</c:v>
                </c:pt>
                <c:pt idx="229">
                  <c:v>44574</c:v>
                </c:pt>
                <c:pt idx="230">
                  <c:v>44575</c:v>
                </c:pt>
                <c:pt idx="231">
                  <c:v>44579</c:v>
                </c:pt>
                <c:pt idx="232">
                  <c:v>44580</c:v>
                </c:pt>
                <c:pt idx="233">
                  <c:v>44581</c:v>
                </c:pt>
                <c:pt idx="234">
                  <c:v>44582</c:v>
                </c:pt>
                <c:pt idx="235">
                  <c:v>44585</c:v>
                </c:pt>
                <c:pt idx="236">
                  <c:v>44586</c:v>
                </c:pt>
                <c:pt idx="237">
                  <c:v>44587</c:v>
                </c:pt>
                <c:pt idx="238">
                  <c:v>44588</c:v>
                </c:pt>
                <c:pt idx="239">
                  <c:v>44589</c:v>
                </c:pt>
                <c:pt idx="240">
                  <c:v>44592</c:v>
                </c:pt>
                <c:pt idx="241">
                  <c:v>44593</c:v>
                </c:pt>
                <c:pt idx="242">
                  <c:v>44594</c:v>
                </c:pt>
                <c:pt idx="243">
                  <c:v>44595</c:v>
                </c:pt>
                <c:pt idx="244">
                  <c:v>44596</c:v>
                </c:pt>
                <c:pt idx="245">
                  <c:v>44599</c:v>
                </c:pt>
                <c:pt idx="246">
                  <c:v>44600</c:v>
                </c:pt>
                <c:pt idx="247">
                  <c:v>44601</c:v>
                </c:pt>
                <c:pt idx="248">
                  <c:v>44602</c:v>
                </c:pt>
                <c:pt idx="249">
                  <c:v>44603</c:v>
                </c:pt>
                <c:pt idx="250">
                  <c:v>44606</c:v>
                </c:pt>
                <c:pt idx="251">
                  <c:v>44607</c:v>
                </c:pt>
                <c:pt idx="252">
                  <c:v>44608</c:v>
                </c:pt>
                <c:pt idx="253">
                  <c:v>44609</c:v>
                </c:pt>
                <c:pt idx="254">
                  <c:v>44610</c:v>
                </c:pt>
                <c:pt idx="255">
                  <c:v>44614</c:v>
                </c:pt>
                <c:pt idx="256">
                  <c:v>44615</c:v>
                </c:pt>
                <c:pt idx="257">
                  <c:v>44616</c:v>
                </c:pt>
                <c:pt idx="258">
                  <c:v>44617</c:v>
                </c:pt>
                <c:pt idx="259">
                  <c:v>44620</c:v>
                </c:pt>
                <c:pt idx="260">
                  <c:v>44621</c:v>
                </c:pt>
                <c:pt idx="261">
                  <c:v>44622</c:v>
                </c:pt>
                <c:pt idx="262">
                  <c:v>44623</c:v>
                </c:pt>
                <c:pt idx="263">
                  <c:v>44624</c:v>
                </c:pt>
                <c:pt idx="264">
                  <c:v>44627</c:v>
                </c:pt>
                <c:pt idx="265">
                  <c:v>44628</c:v>
                </c:pt>
                <c:pt idx="266">
                  <c:v>44629</c:v>
                </c:pt>
                <c:pt idx="267">
                  <c:v>44630</c:v>
                </c:pt>
                <c:pt idx="268">
                  <c:v>44631</c:v>
                </c:pt>
                <c:pt idx="269">
                  <c:v>44634</c:v>
                </c:pt>
                <c:pt idx="270">
                  <c:v>44635</c:v>
                </c:pt>
                <c:pt idx="271">
                  <c:v>44636</c:v>
                </c:pt>
                <c:pt idx="272">
                  <c:v>44637</c:v>
                </c:pt>
                <c:pt idx="273">
                  <c:v>44638</c:v>
                </c:pt>
                <c:pt idx="274">
                  <c:v>44641</c:v>
                </c:pt>
                <c:pt idx="275">
                  <c:v>44642</c:v>
                </c:pt>
                <c:pt idx="276">
                  <c:v>44643</c:v>
                </c:pt>
                <c:pt idx="277">
                  <c:v>44644</c:v>
                </c:pt>
                <c:pt idx="278">
                  <c:v>44645</c:v>
                </c:pt>
                <c:pt idx="279">
                  <c:v>44648</c:v>
                </c:pt>
                <c:pt idx="280">
                  <c:v>44649</c:v>
                </c:pt>
                <c:pt idx="281">
                  <c:v>44650</c:v>
                </c:pt>
                <c:pt idx="282">
                  <c:v>44651</c:v>
                </c:pt>
                <c:pt idx="283">
                  <c:v>44652</c:v>
                </c:pt>
                <c:pt idx="284">
                  <c:v>44655</c:v>
                </c:pt>
                <c:pt idx="285">
                  <c:v>44656</c:v>
                </c:pt>
                <c:pt idx="286">
                  <c:v>44657</c:v>
                </c:pt>
                <c:pt idx="287">
                  <c:v>44658</c:v>
                </c:pt>
                <c:pt idx="288">
                  <c:v>44659</c:v>
                </c:pt>
                <c:pt idx="289">
                  <c:v>44662</c:v>
                </c:pt>
                <c:pt idx="290">
                  <c:v>44663</c:v>
                </c:pt>
                <c:pt idx="291">
                  <c:v>44664</c:v>
                </c:pt>
                <c:pt idx="292">
                  <c:v>44665</c:v>
                </c:pt>
                <c:pt idx="293">
                  <c:v>44669</c:v>
                </c:pt>
                <c:pt idx="294">
                  <c:v>44670</c:v>
                </c:pt>
                <c:pt idx="295">
                  <c:v>44671</c:v>
                </c:pt>
                <c:pt idx="296">
                  <c:v>44672</c:v>
                </c:pt>
                <c:pt idx="297">
                  <c:v>44673</c:v>
                </c:pt>
                <c:pt idx="298">
                  <c:v>44676</c:v>
                </c:pt>
                <c:pt idx="299">
                  <c:v>44677</c:v>
                </c:pt>
                <c:pt idx="300">
                  <c:v>44678</c:v>
                </c:pt>
                <c:pt idx="301">
                  <c:v>44679</c:v>
                </c:pt>
                <c:pt idx="302">
                  <c:v>44680</c:v>
                </c:pt>
                <c:pt idx="303">
                  <c:v>44683</c:v>
                </c:pt>
                <c:pt idx="304">
                  <c:v>44684</c:v>
                </c:pt>
                <c:pt idx="305">
                  <c:v>44685</c:v>
                </c:pt>
                <c:pt idx="306">
                  <c:v>44686</c:v>
                </c:pt>
                <c:pt idx="307">
                  <c:v>44687</c:v>
                </c:pt>
                <c:pt idx="308">
                  <c:v>44690</c:v>
                </c:pt>
                <c:pt idx="309">
                  <c:v>44691</c:v>
                </c:pt>
                <c:pt idx="310">
                  <c:v>44692</c:v>
                </c:pt>
                <c:pt idx="311">
                  <c:v>44693</c:v>
                </c:pt>
                <c:pt idx="312">
                  <c:v>44694</c:v>
                </c:pt>
                <c:pt idx="313">
                  <c:v>44697</c:v>
                </c:pt>
                <c:pt idx="314">
                  <c:v>44698</c:v>
                </c:pt>
                <c:pt idx="315">
                  <c:v>44699</c:v>
                </c:pt>
                <c:pt idx="316">
                  <c:v>44700</c:v>
                </c:pt>
                <c:pt idx="317">
                  <c:v>44701</c:v>
                </c:pt>
                <c:pt idx="318">
                  <c:v>44704</c:v>
                </c:pt>
                <c:pt idx="319">
                  <c:v>44705</c:v>
                </c:pt>
                <c:pt idx="320">
                  <c:v>44706</c:v>
                </c:pt>
                <c:pt idx="321">
                  <c:v>44707</c:v>
                </c:pt>
                <c:pt idx="322">
                  <c:v>44708</c:v>
                </c:pt>
                <c:pt idx="323">
                  <c:v>44712</c:v>
                </c:pt>
                <c:pt idx="324">
                  <c:v>44713</c:v>
                </c:pt>
                <c:pt idx="325">
                  <c:v>44714</c:v>
                </c:pt>
                <c:pt idx="326">
                  <c:v>44715</c:v>
                </c:pt>
                <c:pt idx="327">
                  <c:v>44718</c:v>
                </c:pt>
                <c:pt idx="328">
                  <c:v>44719</c:v>
                </c:pt>
                <c:pt idx="329">
                  <c:v>44720</c:v>
                </c:pt>
                <c:pt idx="330">
                  <c:v>44721</c:v>
                </c:pt>
                <c:pt idx="331">
                  <c:v>44722</c:v>
                </c:pt>
                <c:pt idx="332">
                  <c:v>44725</c:v>
                </c:pt>
                <c:pt idx="333">
                  <c:v>44726</c:v>
                </c:pt>
                <c:pt idx="334">
                  <c:v>44727</c:v>
                </c:pt>
                <c:pt idx="335">
                  <c:v>44728</c:v>
                </c:pt>
                <c:pt idx="336">
                  <c:v>44729</c:v>
                </c:pt>
                <c:pt idx="337">
                  <c:v>44733</c:v>
                </c:pt>
                <c:pt idx="338">
                  <c:v>44734</c:v>
                </c:pt>
                <c:pt idx="339">
                  <c:v>44735</c:v>
                </c:pt>
                <c:pt idx="340">
                  <c:v>44736</c:v>
                </c:pt>
                <c:pt idx="341">
                  <c:v>44739</c:v>
                </c:pt>
                <c:pt idx="342">
                  <c:v>44740</c:v>
                </c:pt>
                <c:pt idx="343">
                  <c:v>44741</c:v>
                </c:pt>
                <c:pt idx="344">
                  <c:v>44742</c:v>
                </c:pt>
                <c:pt idx="345">
                  <c:v>44743</c:v>
                </c:pt>
                <c:pt idx="346">
                  <c:v>44747</c:v>
                </c:pt>
                <c:pt idx="347">
                  <c:v>44748</c:v>
                </c:pt>
                <c:pt idx="348">
                  <c:v>44749</c:v>
                </c:pt>
                <c:pt idx="349">
                  <c:v>44750</c:v>
                </c:pt>
                <c:pt idx="350">
                  <c:v>44753</c:v>
                </c:pt>
                <c:pt idx="351">
                  <c:v>44754</c:v>
                </c:pt>
                <c:pt idx="352">
                  <c:v>44755</c:v>
                </c:pt>
                <c:pt idx="353">
                  <c:v>44756</c:v>
                </c:pt>
                <c:pt idx="354">
                  <c:v>44757</c:v>
                </c:pt>
                <c:pt idx="355">
                  <c:v>44760</c:v>
                </c:pt>
                <c:pt idx="356">
                  <c:v>44761</c:v>
                </c:pt>
                <c:pt idx="357">
                  <c:v>44762</c:v>
                </c:pt>
                <c:pt idx="358">
                  <c:v>44763</c:v>
                </c:pt>
                <c:pt idx="359">
                  <c:v>44764</c:v>
                </c:pt>
                <c:pt idx="360">
                  <c:v>44767</c:v>
                </c:pt>
                <c:pt idx="361">
                  <c:v>44768</c:v>
                </c:pt>
                <c:pt idx="362">
                  <c:v>44769</c:v>
                </c:pt>
                <c:pt idx="363">
                  <c:v>44770</c:v>
                </c:pt>
                <c:pt idx="364">
                  <c:v>44771</c:v>
                </c:pt>
                <c:pt idx="365">
                  <c:v>44774</c:v>
                </c:pt>
                <c:pt idx="366">
                  <c:v>44775</c:v>
                </c:pt>
                <c:pt idx="367">
                  <c:v>44776</c:v>
                </c:pt>
                <c:pt idx="368">
                  <c:v>44777</c:v>
                </c:pt>
                <c:pt idx="369">
                  <c:v>44778</c:v>
                </c:pt>
                <c:pt idx="370">
                  <c:v>44781</c:v>
                </c:pt>
                <c:pt idx="371">
                  <c:v>44782</c:v>
                </c:pt>
                <c:pt idx="372">
                  <c:v>44783</c:v>
                </c:pt>
                <c:pt idx="373">
                  <c:v>44784</c:v>
                </c:pt>
                <c:pt idx="374">
                  <c:v>44785</c:v>
                </c:pt>
                <c:pt idx="375">
                  <c:v>44788</c:v>
                </c:pt>
                <c:pt idx="376">
                  <c:v>44789</c:v>
                </c:pt>
                <c:pt idx="377">
                  <c:v>44790</c:v>
                </c:pt>
                <c:pt idx="378">
                  <c:v>44791</c:v>
                </c:pt>
                <c:pt idx="379">
                  <c:v>44792</c:v>
                </c:pt>
                <c:pt idx="380">
                  <c:v>44795</c:v>
                </c:pt>
                <c:pt idx="381">
                  <c:v>44796</c:v>
                </c:pt>
                <c:pt idx="382">
                  <c:v>44797</c:v>
                </c:pt>
                <c:pt idx="383">
                  <c:v>44798</c:v>
                </c:pt>
                <c:pt idx="384">
                  <c:v>44799</c:v>
                </c:pt>
                <c:pt idx="385">
                  <c:v>44802</c:v>
                </c:pt>
                <c:pt idx="386">
                  <c:v>44803</c:v>
                </c:pt>
                <c:pt idx="387">
                  <c:v>44804</c:v>
                </c:pt>
                <c:pt idx="388">
                  <c:v>44805</c:v>
                </c:pt>
                <c:pt idx="389">
                  <c:v>44806</c:v>
                </c:pt>
                <c:pt idx="390">
                  <c:v>44810</c:v>
                </c:pt>
                <c:pt idx="391">
                  <c:v>44811</c:v>
                </c:pt>
                <c:pt idx="392">
                  <c:v>44812</c:v>
                </c:pt>
                <c:pt idx="393">
                  <c:v>44813</c:v>
                </c:pt>
                <c:pt idx="394">
                  <c:v>44816</c:v>
                </c:pt>
                <c:pt idx="395">
                  <c:v>44817</c:v>
                </c:pt>
                <c:pt idx="396">
                  <c:v>44818</c:v>
                </c:pt>
                <c:pt idx="397">
                  <c:v>44819</c:v>
                </c:pt>
                <c:pt idx="398">
                  <c:v>44820</c:v>
                </c:pt>
                <c:pt idx="399">
                  <c:v>44823</c:v>
                </c:pt>
                <c:pt idx="400">
                  <c:v>44824</c:v>
                </c:pt>
                <c:pt idx="401">
                  <c:v>44825</c:v>
                </c:pt>
                <c:pt idx="402">
                  <c:v>44826</c:v>
                </c:pt>
                <c:pt idx="403">
                  <c:v>44827</c:v>
                </c:pt>
                <c:pt idx="404">
                  <c:v>44830</c:v>
                </c:pt>
                <c:pt idx="405">
                  <c:v>44831</c:v>
                </c:pt>
                <c:pt idx="406">
                  <c:v>44832</c:v>
                </c:pt>
                <c:pt idx="407">
                  <c:v>44833</c:v>
                </c:pt>
                <c:pt idx="408">
                  <c:v>44834</c:v>
                </c:pt>
                <c:pt idx="409">
                  <c:v>44837</c:v>
                </c:pt>
                <c:pt idx="410">
                  <c:v>44838</c:v>
                </c:pt>
                <c:pt idx="411">
                  <c:v>44839</c:v>
                </c:pt>
                <c:pt idx="412">
                  <c:v>44840</c:v>
                </c:pt>
                <c:pt idx="413">
                  <c:v>44841</c:v>
                </c:pt>
                <c:pt idx="414">
                  <c:v>44845</c:v>
                </c:pt>
                <c:pt idx="415">
                  <c:v>44846</c:v>
                </c:pt>
                <c:pt idx="416">
                  <c:v>44847</c:v>
                </c:pt>
                <c:pt idx="417">
                  <c:v>44848</c:v>
                </c:pt>
                <c:pt idx="418">
                  <c:v>44851</c:v>
                </c:pt>
                <c:pt idx="419">
                  <c:v>44852</c:v>
                </c:pt>
                <c:pt idx="420">
                  <c:v>44853</c:v>
                </c:pt>
                <c:pt idx="421">
                  <c:v>44854</c:v>
                </c:pt>
                <c:pt idx="422">
                  <c:v>44855</c:v>
                </c:pt>
                <c:pt idx="423">
                  <c:v>44858</c:v>
                </c:pt>
                <c:pt idx="424">
                  <c:v>44859</c:v>
                </c:pt>
                <c:pt idx="425">
                  <c:v>44860</c:v>
                </c:pt>
                <c:pt idx="426">
                  <c:v>44861</c:v>
                </c:pt>
                <c:pt idx="427">
                  <c:v>44862</c:v>
                </c:pt>
                <c:pt idx="428">
                  <c:v>44865</c:v>
                </c:pt>
                <c:pt idx="429">
                  <c:v>44866</c:v>
                </c:pt>
                <c:pt idx="430">
                  <c:v>44867</c:v>
                </c:pt>
                <c:pt idx="431">
                  <c:v>44868</c:v>
                </c:pt>
                <c:pt idx="432">
                  <c:v>44869</c:v>
                </c:pt>
                <c:pt idx="433">
                  <c:v>44872</c:v>
                </c:pt>
                <c:pt idx="434">
                  <c:v>44873</c:v>
                </c:pt>
                <c:pt idx="435">
                  <c:v>44874</c:v>
                </c:pt>
                <c:pt idx="436">
                  <c:v>44875</c:v>
                </c:pt>
                <c:pt idx="437">
                  <c:v>44879</c:v>
                </c:pt>
                <c:pt idx="438">
                  <c:v>44880</c:v>
                </c:pt>
                <c:pt idx="439">
                  <c:v>44881</c:v>
                </c:pt>
                <c:pt idx="440">
                  <c:v>44882</c:v>
                </c:pt>
                <c:pt idx="441">
                  <c:v>44883</c:v>
                </c:pt>
                <c:pt idx="442">
                  <c:v>44886</c:v>
                </c:pt>
                <c:pt idx="443">
                  <c:v>44887</c:v>
                </c:pt>
                <c:pt idx="444">
                  <c:v>44888</c:v>
                </c:pt>
                <c:pt idx="445">
                  <c:v>44890</c:v>
                </c:pt>
                <c:pt idx="446">
                  <c:v>44893</c:v>
                </c:pt>
                <c:pt idx="447">
                  <c:v>44894</c:v>
                </c:pt>
                <c:pt idx="448">
                  <c:v>44895</c:v>
                </c:pt>
                <c:pt idx="449">
                  <c:v>44896</c:v>
                </c:pt>
                <c:pt idx="450">
                  <c:v>44897</c:v>
                </c:pt>
                <c:pt idx="451">
                  <c:v>44900</c:v>
                </c:pt>
                <c:pt idx="452">
                  <c:v>44901</c:v>
                </c:pt>
                <c:pt idx="453">
                  <c:v>44902</c:v>
                </c:pt>
                <c:pt idx="454">
                  <c:v>44903</c:v>
                </c:pt>
                <c:pt idx="455">
                  <c:v>44904</c:v>
                </c:pt>
                <c:pt idx="456">
                  <c:v>44907</c:v>
                </c:pt>
                <c:pt idx="457">
                  <c:v>44908</c:v>
                </c:pt>
                <c:pt idx="458">
                  <c:v>44909</c:v>
                </c:pt>
                <c:pt idx="459">
                  <c:v>44910</c:v>
                </c:pt>
                <c:pt idx="460">
                  <c:v>44911</c:v>
                </c:pt>
                <c:pt idx="461">
                  <c:v>44914</c:v>
                </c:pt>
                <c:pt idx="462">
                  <c:v>44915</c:v>
                </c:pt>
                <c:pt idx="463">
                  <c:v>44916</c:v>
                </c:pt>
                <c:pt idx="464">
                  <c:v>44917</c:v>
                </c:pt>
                <c:pt idx="465">
                  <c:v>44918</c:v>
                </c:pt>
                <c:pt idx="466">
                  <c:v>44922</c:v>
                </c:pt>
                <c:pt idx="467">
                  <c:v>44923</c:v>
                </c:pt>
                <c:pt idx="468">
                  <c:v>44924</c:v>
                </c:pt>
                <c:pt idx="469">
                  <c:v>44925</c:v>
                </c:pt>
                <c:pt idx="470">
                  <c:v>44929</c:v>
                </c:pt>
                <c:pt idx="471">
                  <c:v>44930</c:v>
                </c:pt>
                <c:pt idx="472">
                  <c:v>44931</c:v>
                </c:pt>
                <c:pt idx="473">
                  <c:v>44932</c:v>
                </c:pt>
                <c:pt idx="474">
                  <c:v>44935</c:v>
                </c:pt>
                <c:pt idx="475">
                  <c:v>44936</c:v>
                </c:pt>
                <c:pt idx="476">
                  <c:v>44937</c:v>
                </c:pt>
                <c:pt idx="477">
                  <c:v>44938</c:v>
                </c:pt>
                <c:pt idx="478">
                  <c:v>44939</c:v>
                </c:pt>
                <c:pt idx="479">
                  <c:v>44943</c:v>
                </c:pt>
                <c:pt idx="480">
                  <c:v>44944</c:v>
                </c:pt>
                <c:pt idx="481">
                  <c:v>44945</c:v>
                </c:pt>
                <c:pt idx="482">
                  <c:v>44946</c:v>
                </c:pt>
                <c:pt idx="483">
                  <c:v>44949</c:v>
                </c:pt>
                <c:pt idx="484">
                  <c:v>44950</c:v>
                </c:pt>
                <c:pt idx="485">
                  <c:v>44951</c:v>
                </c:pt>
                <c:pt idx="486">
                  <c:v>44952</c:v>
                </c:pt>
                <c:pt idx="487">
                  <c:v>44953</c:v>
                </c:pt>
                <c:pt idx="488">
                  <c:v>44956</c:v>
                </c:pt>
                <c:pt idx="489">
                  <c:v>44957</c:v>
                </c:pt>
                <c:pt idx="490">
                  <c:v>44958</c:v>
                </c:pt>
                <c:pt idx="491">
                  <c:v>44959</c:v>
                </c:pt>
                <c:pt idx="492">
                  <c:v>44960</c:v>
                </c:pt>
                <c:pt idx="493">
                  <c:v>44963</c:v>
                </c:pt>
                <c:pt idx="494">
                  <c:v>44964</c:v>
                </c:pt>
                <c:pt idx="495">
                  <c:v>44965</c:v>
                </c:pt>
                <c:pt idx="496">
                  <c:v>44966</c:v>
                </c:pt>
                <c:pt idx="497">
                  <c:v>44967</c:v>
                </c:pt>
                <c:pt idx="498">
                  <c:v>44970</c:v>
                </c:pt>
                <c:pt idx="499">
                  <c:v>44971</c:v>
                </c:pt>
                <c:pt idx="500">
                  <c:v>44972</c:v>
                </c:pt>
                <c:pt idx="501">
                  <c:v>44973</c:v>
                </c:pt>
                <c:pt idx="502">
                  <c:v>44974</c:v>
                </c:pt>
                <c:pt idx="503">
                  <c:v>44978</c:v>
                </c:pt>
                <c:pt idx="504">
                  <c:v>44979</c:v>
                </c:pt>
                <c:pt idx="505">
                  <c:v>44980</c:v>
                </c:pt>
                <c:pt idx="506">
                  <c:v>44981</c:v>
                </c:pt>
                <c:pt idx="507">
                  <c:v>44984</c:v>
                </c:pt>
                <c:pt idx="508">
                  <c:v>44985</c:v>
                </c:pt>
                <c:pt idx="509">
                  <c:v>44986</c:v>
                </c:pt>
                <c:pt idx="510">
                  <c:v>44987</c:v>
                </c:pt>
                <c:pt idx="511">
                  <c:v>44988</c:v>
                </c:pt>
                <c:pt idx="512">
                  <c:v>44991</c:v>
                </c:pt>
                <c:pt idx="513">
                  <c:v>44992</c:v>
                </c:pt>
                <c:pt idx="514">
                  <c:v>44993</c:v>
                </c:pt>
                <c:pt idx="515">
                  <c:v>44994</c:v>
                </c:pt>
                <c:pt idx="516">
                  <c:v>44995</c:v>
                </c:pt>
                <c:pt idx="517">
                  <c:v>44998</c:v>
                </c:pt>
                <c:pt idx="518">
                  <c:v>44999</c:v>
                </c:pt>
                <c:pt idx="519">
                  <c:v>45000</c:v>
                </c:pt>
                <c:pt idx="520">
                  <c:v>45001</c:v>
                </c:pt>
                <c:pt idx="521">
                  <c:v>45002</c:v>
                </c:pt>
                <c:pt idx="522">
                  <c:v>45005</c:v>
                </c:pt>
                <c:pt idx="523">
                  <c:v>45006</c:v>
                </c:pt>
                <c:pt idx="524">
                  <c:v>45007</c:v>
                </c:pt>
                <c:pt idx="525">
                  <c:v>45008</c:v>
                </c:pt>
                <c:pt idx="526">
                  <c:v>45009</c:v>
                </c:pt>
                <c:pt idx="527">
                  <c:v>45012</c:v>
                </c:pt>
                <c:pt idx="528">
                  <c:v>45013</c:v>
                </c:pt>
                <c:pt idx="529">
                  <c:v>45014</c:v>
                </c:pt>
                <c:pt idx="530">
                  <c:v>45015</c:v>
                </c:pt>
                <c:pt idx="531">
                  <c:v>45016</c:v>
                </c:pt>
                <c:pt idx="532">
                  <c:v>45019</c:v>
                </c:pt>
                <c:pt idx="533">
                  <c:v>45020</c:v>
                </c:pt>
                <c:pt idx="534">
                  <c:v>45021</c:v>
                </c:pt>
                <c:pt idx="535">
                  <c:v>45022</c:v>
                </c:pt>
                <c:pt idx="536">
                  <c:v>45026</c:v>
                </c:pt>
                <c:pt idx="537">
                  <c:v>45027</c:v>
                </c:pt>
                <c:pt idx="538">
                  <c:v>45028</c:v>
                </c:pt>
                <c:pt idx="539">
                  <c:v>45029</c:v>
                </c:pt>
                <c:pt idx="540">
                  <c:v>45030</c:v>
                </c:pt>
                <c:pt idx="541">
                  <c:v>45033</c:v>
                </c:pt>
                <c:pt idx="542">
                  <c:v>45034</c:v>
                </c:pt>
                <c:pt idx="543">
                  <c:v>45035</c:v>
                </c:pt>
                <c:pt idx="544">
                  <c:v>45036</c:v>
                </c:pt>
                <c:pt idx="545">
                  <c:v>45037</c:v>
                </c:pt>
                <c:pt idx="546">
                  <c:v>45040</c:v>
                </c:pt>
                <c:pt idx="547">
                  <c:v>45041</c:v>
                </c:pt>
                <c:pt idx="548">
                  <c:v>45042</c:v>
                </c:pt>
                <c:pt idx="549">
                  <c:v>45043</c:v>
                </c:pt>
                <c:pt idx="550">
                  <c:v>45044</c:v>
                </c:pt>
                <c:pt idx="551">
                  <c:v>45047</c:v>
                </c:pt>
                <c:pt idx="552">
                  <c:v>45048</c:v>
                </c:pt>
                <c:pt idx="553">
                  <c:v>45049</c:v>
                </c:pt>
                <c:pt idx="554">
                  <c:v>45050</c:v>
                </c:pt>
                <c:pt idx="555">
                  <c:v>45051</c:v>
                </c:pt>
                <c:pt idx="556">
                  <c:v>45054</c:v>
                </c:pt>
                <c:pt idx="557">
                  <c:v>45055</c:v>
                </c:pt>
                <c:pt idx="558">
                  <c:v>45056</c:v>
                </c:pt>
                <c:pt idx="559">
                  <c:v>45057</c:v>
                </c:pt>
                <c:pt idx="560">
                  <c:v>45058</c:v>
                </c:pt>
                <c:pt idx="561">
                  <c:v>45061</c:v>
                </c:pt>
                <c:pt idx="562">
                  <c:v>45062</c:v>
                </c:pt>
                <c:pt idx="563">
                  <c:v>45063</c:v>
                </c:pt>
                <c:pt idx="564">
                  <c:v>45064</c:v>
                </c:pt>
                <c:pt idx="565">
                  <c:v>45065</c:v>
                </c:pt>
                <c:pt idx="566">
                  <c:v>45068</c:v>
                </c:pt>
                <c:pt idx="567">
                  <c:v>45069</c:v>
                </c:pt>
                <c:pt idx="568">
                  <c:v>45070</c:v>
                </c:pt>
                <c:pt idx="569">
                  <c:v>45071</c:v>
                </c:pt>
                <c:pt idx="570">
                  <c:v>45072</c:v>
                </c:pt>
                <c:pt idx="571">
                  <c:v>45076</c:v>
                </c:pt>
                <c:pt idx="572">
                  <c:v>45077</c:v>
                </c:pt>
                <c:pt idx="573">
                  <c:v>45078</c:v>
                </c:pt>
                <c:pt idx="574">
                  <c:v>45079</c:v>
                </c:pt>
                <c:pt idx="575">
                  <c:v>45082</c:v>
                </c:pt>
                <c:pt idx="576">
                  <c:v>45083</c:v>
                </c:pt>
                <c:pt idx="577">
                  <c:v>45084</c:v>
                </c:pt>
                <c:pt idx="578">
                  <c:v>45085</c:v>
                </c:pt>
                <c:pt idx="579">
                  <c:v>45086</c:v>
                </c:pt>
                <c:pt idx="580">
                  <c:v>45089</c:v>
                </c:pt>
                <c:pt idx="581">
                  <c:v>45090</c:v>
                </c:pt>
                <c:pt idx="582">
                  <c:v>45091</c:v>
                </c:pt>
                <c:pt idx="583">
                  <c:v>45092</c:v>
                </c:pt>
                <c:pt idx="584">
                  <c:v>45093</c:v>
                </c:pt>
                <c:pt idx="585">
                  <c:v>45097</c:v>
                </c:pt>
                <c:pt idx="586">
                  <c:v>45098</c:v>
                </c:pt>
                <c:pt idx="587">
                  <c:v>45099</c:v>
                </c:pt>
                <c:pt idx="588">
                  <c:v>45100</c:v>
                </c:pt>
                <c:pt idx="589">
                  <c:v>45103</c:v>
                </c:pt>
                <c:pt idx="590">
                  <c:v>45104</c:v>
                </c:pt>
                <c:pt idx="591">
                  <c:v>45105</c:v>
                </c:pt>
                <c:pt idx="592">
                  <c:v>45106</c:v>
                </c:pt>
                <c:pt idx="593">
                  <c:v>45107</c:v>
                </c:pt>
                <c:pt idx="594">
                  <c:v>45110</c:v>
                </c:pt>
                <c:pt idx="595">
                  <c:v>45112</c:v>
                </c:pt>
                <c:pt idx="596">
                  <c:v>45113</c:v>
                </c:pt>
                <c:pt idx="597">
                  <c:v>45114</c:v>
                </c:pt>
                <c:pt idx="598">
                  <c:v>45117</c:v>
                </c:pt>
                <c:pt idx="599">
                  <c:v>45118</c:v>
                </c:pt>
                <c:pt idx="600">
                  <c:v>45119</c:v>
                </c:pt>
                <c:pt idx="601">
                  <c:v>45120</c:v>
                </c:pt>
                <c:pt idx="602">
                  <c:v>45121</c:v>
                </c:pt>
                <c:pt idx="603">
                  <c:v>45124</c:v>
                </c:pt>
                <c:pt idx="604">
                  <c:v>45125</c:v>
                </c:pt>
                <c:pt idx="605">
                  <c:v>45126</c:v>
                </c:pt>
                <c:pt idx="606">
                  <c:v>45127</c:v>
                </c:pt>
                <c:pt idx="607">
                  <c:v>45128</c:v>
                </c:pt>
                <c:pt idx="608">
                  <c:v>45131</c:v>
                </c:pt>
                <c:pt idx="609">
                  <c:v>45132</c:v>
                </c:pt>
                <c:pt idx="610">
                  <c:v>45133</c:v>
                </c:pt>
                <c:pt idx="611">
                  <c:v>45134</c:v>
                </c:pt>
                <c:pt idx="612">
                  <c:v>45135</c:v>
                </c:pt>
                <c:pt idx="613">
                  <c:v>45138</c:v>
                </c:pt>
                <c:pt idx="614">
                  <c:v>45139</c:v>
                </c:pt>
                <c:pt idx="615">
                  <c:v>45140</c:v>
                </c:pt>
                <c:pt idx="616">
                  <c:v>45141</c:v>
                </c:pt>
                <c:pt idx="617">
                  <c:v>45142</c:v>
                </c:pt>
                <c:pt idx="618">
                  <c:v>45145</c:v>
                </c:pt>
                <c:pt idx="619">
                  <c:v>45146</c:v>
                </c:pt>
                <c:pt idx="620">
                  <c:v>45147</c:v>
                </c:pt>
                <c:pt idx="621">
                  <c:v>45148</c:v>
                </c:pt>
                <c:pt idx="622">
                  <c:v>45149</c:v>
                </c:pt>
                <c:pt idx="623">
                  <c:v>45152</c:v>
                </c:pt>
                <c:pt idx="624">
                  <c:v>45153</c:v>
                </c:pt>
                <c:pt idx="625">
                  <c:v>45154</c:v>
                </c:pt>
                <c:pt idx="626">
                  <c:v>45155</c:v>
                </c:pt>
                <c:pt idx="627">
                  <c:v>45156</c:v>
                </c:pt>
                <c:pt idx="628">
                  <c:v>45159</c:v>
                </c:pt>
                <c:pt idx="629">
                  <c:v>45160</c:v>
                </c:pt>
                <c:pt idx="630">
                  <c:v>45161</c:v>
                </c:pt>
                <c:pt idx="631">
                  <c:v>45162</c:v>
                </c:pt>
                <c:pt idx="632">
                  <c:v>45163</c:v>
                </c:pt>
                <c:pt idx="633">
                  <c:v>45166</c:v>
                </c:pt>
                <c:pt idx="634">
                  <c:v>45167</c:v>
                </c:pt>
                <c:pt idx="635">
                  <c:v>45168</c:v>
                </c:pt>
                <c:pt idx="636">
                  <c:v>45169</c:v>
                </c:pt>
                <c:pt idx="637">
                  <c:v>45170</c:v>
                </c:pt>
                <c:pt idx="638">
                  <c:v>45174</c:v>
                </c:pt>
                <c:pt idx="639">
                  <c:v>45175</c:v>
                </c:pt>
                <c:pt idx="640">
                  <c:v>45176</c:v>
                </c:pt>
                <c:pt idx="641">
                  <c:v>45177</c:v>
                </c:pt>
                <c:pt idx="642">
                  <c:v>45180</c:v>
                </c:pt>
                <c:pt idx="643">
                  <c:v>45181</c:v>
                </c:pt>
                <c:pt idx="644">
                  <c:v>45182</c:v>
                </c:pt>
                <c:pt idx="645">
                  <c:v>45183</c:v>
                </c:pt>
                <c:pt idx="646">
                  <c:v>45184</c:v>
                </c:pt>
                <c:pt idx="647">
                  <c:v>45187</c:v>
                </c:pt>
                <c:pt idx="648">
                  <c:v>45188</c:v>
                </c:pt>
                <c:pt idx="649">
                  <c:v>45189</c:v>
                </c:pt>
                <c:pt idx="650">
                  <c:v>45190</c:v>
                </c:pt>
                <c:pt idx="651">
                  <c:v>45191</c:v>
                </c:pt>
                <c:pt idx="652">
                  <c:v>45194</c:v>
                </c:pt>
                <c:pt idx="653">
                  <c:v>45195</c:v>
                </c:pt>
                <c:pt idx="654">
                  <c:v>45196</c:v>
                </c:pt>
                <c:pt idx="655">
                  <c:v>45197</c:v>
                </c:pt>
                <c:pt idx="656">
                  <c:v>45198</c:v>
                </c:pt>
                <c:pt idx="657">
                  <c:v>45201</c:v>
                </c:pt>
                <c:pt idx="658">
                  <c:v>45202</c:v>
                </c:pt>
                <c:pt idx="659">
                  <c:v>45203</c:v>
                </c:pt>
                <c:pt idx="660">
                  <c:v>45204</c:v>
                </c:pt>
                <c:pt idx="661">
                  <c:v>45205</c:v>
                </c:pt>
                <c:pt idx="662">
                  <c:v>45209</c:v>
                </c:pt>
                <c:pt idx="663">
                  <c:v>45210</c:v>
                </c:pt>
                <c:pt idx="664">
                  <c:v>45211</c:v>
                </c:pt>
                <c:pt idx="665">
                  <c:v>45212</c:v>
                </c:pt>
                <c:pt idx="666">
                  <c:v>45215</c:v>
                </c:pt>
                <c:pt idx="667">
                  <c:v>45216</c:v>
                </c:pt>
                <c:pt idx="668">
                  <c:v>45217</c:v>
                </c:pt>
                <c:pt idx="669">
                  <c:v>45218</c:v>
                </c:pt>
                <c:pt idx="670">
                  <c:v>45219</c:v>
                </c:pt>
                <c:pt idx="671">
                  <c:v>45222</c:v>
                </c:pt>
                <c:pt idx="672">
                  <c:v>45223</c:v>
                </c:pt>
                <c:pt idx="673">
                  <c:v>45224</c:v>
                </c:pt>
                <c:pt idx="674">
                  <c:v>45225</c:v>
                </c:pt>
                <c:pt idx="675">
                  <c:v>45226</c:v>
                </c:pt>
                <c:pt idx="676">
                  <c:v>45229</c:v>
                </c:pt>
                <c:pt idx="677">
                  <c:v>45230</c:v>
                </c:pt>
                <c:pt idx="678">
                  <c:v>45231</c:v>
                </c:pt>
                <c:pt idx="679">
                  <c:v>45232</c:v>
                </c:pt>
                <c:pt idx="680">
                  <c:v>45233</c:v>
                </c:pt>
                <c:pt idx="681">
                  <c:v>45236</c:v>
                </c:pt>
              </c:numCache>
            </c:numRef>
          </c:cat>
          <c:val>
            <c:numRef>
              <c:f>Hoja1!$C$2:$C$683</c:f>
              <c:numCache>
                <c:formatCode>General</c:formatCode>
                <c:ptCount val="682"/>
                <c:pt idx="0">
                  <c:v>6.2780000000000002E-2</c:v>
                </c:pt>
                <c:pt idx="1">
                  <c:v>6.1829999999999996E-2</c:v>
                </c:pt>
                <c:pt idx="2">
                  <c:v>5.9800000000000006E-2</c:v>
                </c:pt>
                <c:pt idx="3">
                  <c:v>6.0479999999999999E-2</c:v>
                </c:pt>
                <c:pt idx="4">
                  <c:v>6.1989999999999996E-2</c:v>
                </c:pt>
                <c:pt idx="5">
                  <c:v>6.1699999999999998E-2</c:v>
                </c:pt>
                <c:pt idx="6">
                  <c:v>6.1980000000000007E-2</c:v>
                </c:pt>
                <c:pt idx="7">
                  <c:v>6.5619999999999998E-2</c:v>
                </c:pt>
                <c:pt idx="8">
                  <c:v>6.4489999999999992E-2</c:v>
                </c:pt>
                <c:pt idx="9">
                  <c:v>6.2800000000000009E-2</c:v>
                </c:pt>
                <c:pt idx="10">
                  <c:v>6.207E-2</c:v>
                </c:pt>
                <c:pt idx="11">
                  <c:v>6.3329999999999997E-2</c:v>
                </c:pt>
                <c:pt idx="12">
                  <c:v>6.4589999999999995E-2</c:v>
                </c:pt>
                <c:pt idx="13">
                  <c:v>6.5869999999999998E-2</c:v>
                </c:pt>
                <c:pt idx="14">
                  <c:v>6.9029999999999994E-2</c:v>
                </c:pt>
                <c:pt idx="15">
                  <c:v>6.7790000000000003E-2</c:v>
                </c:pt>
                <c:pt idx="16">
                  <c:v>6.5419999999999992E-2</c:v>
                </c:pt>
                <c:pt idx="17">
                  <c:v>6.4199999999999993E-2</c:v>
                </c:pt>
                <c:pt idx="18">
                  <c:v>6.5780000000000005E-2</c:v>
                </c:pt>
                <c:pt idx="19">
                  <c:v>6.6110000000000002E-2</c:v>
                </c:pt>
                <c:pt idx="20">
                  <c:v>6.479E-2</c:v>
                </c:pt>
                <c:pt idx="21">
                  <c:v>6.4329999999999998E-2</c:v>
                </c:pt>
                <c:pt idx="22">
                  <c:v>6.5540000000000001E-2</c:v>
                </c:pt>
                <c:pt idx="23">
                  <c:v>6.3879999999999992E-2</c:v>
                </c:pt>
                <c:pt idx="24">
                  <c:v>6.2539999999999998E-2</c:v>
                </c:pt>
                <c:pt idx="25">
                  <c:v>6.3550000000000009E-2</c:v>
                </c:pt>
                <c:pt idx="26">
                  <c:v>6.411E-2</c:v>
                </c:pt>
                <c:pt idx="27">
                  <c:v>6.4860000000000001E-2</c:v>
                </c:pt>
                <c:pt idx="28">
                  <c:v>6.5229999999999996E-2</c:v>
                </c:pt>
                <c:pt idx="29">
                  <c:v>6.5750000000000003E-2</c:v>
                </c:pt>
                <c:pt idx="30">
                  <c:v>6.5810000000000007E-2</c:v>
                </c:pt>
                <c:pt idx="31">
                  <c:v>6.5500000000000003E-2</c:v>
                </c:pt>
                <c:pt idx="32">
                  <c:v>6.4509999999999998E-2</c:v>
                </c:pt>
                <c:pt idx="33">
                  <c:v>6.3710000000000003E-2</c:v>
                </c:pt>
                <c:pt idx="34">
                  <c:v>6.2950000000000006E-2</c:v>
                </c:pt>
                <c:pt idx="35">
                  <c:v>6.3759999999999997E-2</c:v>
                </c:pt>
                <c:pt idx="36">
                  <c:v>6.2920000000000004E-2</c:v>
                </c:pt>
                <c:pt idx="37">
                  <c:v>6.268E-2</c:v>
                </c:pt>
                <c:pt idx="38">
                  <c:v>6.2789999999999999E-2</c:v>
                </c:pt>
                <c:pt idx="39">
                  <c:v>6.2829999999999997E-2</c:v>
                </c:pt>
                <c:pt idx="40">
                  <c:v>6.2619999999999995E-2</c:v>
                </c:pt>
                <c:pt idx="41">
                  <c:v>6.1550000000000001E-2</c:v>
                </c:pt>
                <c:pt idx="42">
                  <c:v>6.1630000000000004E-2</c:v>
                </c:pt>
                <c:pt idx="43">
                  <c:v>6.1609999999999998E-2</c:v>
                </c:pt>
                <c:pt idx="44">
                  <c:v>6.2390000000000001E-2</c:v>
                </c:pt>
                <c:pt idx="45">
                  <c:v>6.2350000000000003E-2</c:v>
                </c:pt>
                <c:pt idx="46">
                  <c:v>6.2380000000000005E-2</c:v>
                </c:pt>
                <c:pt idx="47">
                  <c:v>6.2659999999999993E-2</c:v>
                </c:pt>
                <c:pt idx="48">
                  <c:v>6.3500000000000001E-2</c:v>
                </c:pt>
                <c:pt idx="49">
                  <c:v>6.5000000000000002E-2</c:v>
                </c:pt>
                <c:pt idx="50">
                  <c:v>6.5369999999999998E-2</c:v>
                </c:pt>
                <c:pt idx="51">
                  <c:v>6.4600000000000005E-2</c:v>
                </c:pt>
                <c:pt idx="52">
                  <c:v>6.4349999999999991E-2</c:v>
                </c:pt>
                <c:pt idx="53">
                  <c:v>6.4390000000000003E-2</c:v>
                </c:pt>
                <c:pt idx="54">
                  <c:v>6.4180000000000001E-2</c:v>
                </c:pt>
                <c:pt idx="55">
                  <c:v>6.3949999999999993E-2</c:v>
                </c:pt>
                <c:pt idx="56">
                  <c:v>6.3570000000000002E-2</c:v>
                </c:pt>
                <c:pt idx="57">
                  <c:v>6.3109999999999999E-2</c:v>
                </c:pt>
                <c:pt idx="58">
                  <c:v>6.2880000000000005E-2</c:v>
                </c:pt>
                <c:pt idx="59">
                  <c:v>6.3949999999999993E-2</c:v>
                </c:pt>
                <c:pt idx="60">
                  <c:v>6.5019999999999994E-2</c:v>
                </c:pt>
                <c:pt idx="61">
                  <c:v>6.5299999999999997E-2</c:v>
                </c:pt>
                <c:pt idx="62">
                  <c:v>6.4630000000000007E-2</c:v>
                </c:pt>
                <c:pt idx="63">
                  <c:v>6.4630000000000007E-2</c:v>
                </c:pt>
                <c:pt idx="64">
                  <c:v>6.4770000000000008E-2</c:v>
                </c:pt>
                <c:pt idx="65">
                  <c:v>6.5509999999999999E-2</c:v>
                </c:pt>
                <c:pt idx="66">
                  <c:v>6.5140000000000003E-2</c:v>
                </c:pt>
                <c:pt idx="67">
                  <c:v>6.497E-2</c:v>
                </c:pt>
                <c:pt idx="68">
                  <c:v>6.4839999999999995E-2</c:v>
                </c:pt>
                <c:pt idx="69">
                  <c:v>6.4149999999999999E-2</c:v>
                </c:pt>
                <c:pt idx="70">
                  <c:v>6.3490000000000005E-2</c:v>
                </c:pt>
                <c:pt idx="71">
                  <c:v>6.3990000000000005E-2</c:v>
                </c:pt>
                <c:pt idx="72">
                  <c:v>6.3589999999999994E-2</c:v>
                </c:pt>
                <c:pt idx="73">
                  <c:v>6.2829999999999997E-2</c:v>
                </c:pt>
                <c:pt idx="74">
                  <c:v>6.2060000000000004E-2</c:v>
                </c:pt>
                <c:pt idx="75">
                  <c:v>6.2710000000000002E-2</c:v>
                </c:pt>
                <c:pt idx="76">
                  <c:v>6.2199999999999998E-2</c:v>
                </c:pt>
                <c:pt idx="77">
                  <c:v>6.1740000000000003E-2</c:v>
                </c:pt>
                <c:pt idx="78">
                  <c:v>6.1239999999999996E-2</c:v>
                </c:pt>
                <c:pt idx="79">
                  <c:v>6.0299999999999999E-2</c:v>
                </c:pt>
                <c:pt idx="80">
                  <c:v>6.0080000000000001E-2</c:v>
                </c:pt>
                <c:pt idx="81">
                  <c:v>5.9889999999999999E-2</c:v>
                </c:pt>
                <c:pt idx="82">
                  <c:v>6.1050000000000007E-2</c:v>
                </c:pt>
                <c:pt idx="83">
                  <c:v>6.1769999999999999E-2</c:v>
                </c:pt>
                <c:pt idx="84">
                  <c:v>6.2140000000000001E-2</c:v>
                </c:pt>
                <c:pt idx="85">
                  <c:v>6.1689999999999995E-2</c:v>
                </c:pt>
                <c:pt idx="86">
                  <c:v>6.1609999999999998E-2</c:v>
                </c:pt>
                <c:pt idx="87">
                  <c:v>6.191E-2</c:v>
                </c:pt>
                <c:pt idx="88">
                  <c:v>6.2659999999999993E-2</c:v>
                </c:pt>
                <c:pt idx="89">
                  <c:v>6.2890000000000001E-2</c:v>
                </c:pt>
                <c:pt idx="90">
                  <c:v>6.3149999999999998E-2</c:v>
                </c:pt>
                <c:pt idx="91">
                  <c:v>6.3399999999999998E-2</c:v>
                </c:pt>
                <c:pt idx="92">
                  <c:v>6.3259999999999997E-2</c:v>
                </c:pt>
                <c:pt idx="93">
                  <c:v>6.3479999999999995E-2</c:v>
                </c:pt>
                <c:pt idx="94">
                  <c:v>6.3339999999999994E-2</c:v>
                </c:pt>
                <c:pt idx="95">
                  <c:v>6.2530000000000002E-2</c:v>
                </c:pt>
                <c:pt idx="96">
                  <c:v>6.1749999999999999E-2</c:v>
                </c:pt>
                <c:pt idx="97">
                  <c:v>6.123E-2</c:v>
                </c:pt>
                <c:pt idx="98">
                  <c:v>6.0679999999999998E-2</c:v>
                </c:pt>
                <c:pt idx="99">
                  <c:v>6.1409999999999999E-2</c:v>
                </c:pt>
                <c:pt idx="100">
                  <c:v>6.1650000000000003E-2</c:v>
                </c:pt>
                <c:pt idx="101">
                  <c:v>6.1780000000000002E-2</c:v>
                </c:pt>
                <c:pt idx="102">
                  <c:v>6.1980000000000007E-2</c:v>
                </c:pt>
                <c:pt idx="103">
                  <c:v>6.2030000000000002E-2</c:v>
                </c:pt>
                <c:pt idx="104">
                  <c:v>6.2149999999999997E-2</c:v>
                </c:pt>
                <c:pt idx="105">
                  <c:v>6.2380000000000005E-2</c:v>
                </c:pt>
                <c:pt idx="106">
                  <c:v>6.3479999999999995E-2</c:v>
                </c:pt>
                <c:pt idx="107">
                  <c:v>6.3019999999999993E-2</c:v>
                </c:pt>
                <c:pt idx="108">
                  <c:v>6.2689999999999996E-2</c:v>
                </c:pt>
                <c:pt idx="109">
                  <c:v>6.2869999999999995E-2</c:v>
                </c:pt>
                <c:pt idx="110">
                  <c:v>6.2960000000000002E-2</c:v>
                </c:pt>
                <c:pt idx="111">
                  <c:v>6.2890000000000001E-2</c:v>
                </c:pt>
                <c:pt idx="112">
                  <c:v>6.3789999999999999E-2</c:v>
                </c:pt>
                <c:pt idx="113">
                  <c:v>6.2659999999999993E-2</c:v>
                </c:pt>
                <c:pt idx="114">
                  <c:v>6.2119999999999995E-2</c:v>
                </c:pt>
                <c:pt idx="115">
                  <c:v>6.1969999999999997E-2</c:v>
                </c:pt>
                <c:pt idx="116">
                  <c:v>6.1959999999999994E-2</c:v>
                </c:pt>
                <c:pt idx="117">
                  <c:v>6.2359999999999999E-2</c:v>
                </c:pt>
                <c:pt idx="118">
                  <c:v>6.2640000000000001E-2</c:v>
                </c:pt>
                <c:pt idx="119">
                  <c:v>6.3030000000000003E-2</c:v>
                </c:pt>
                <c:pt idx="120">
                  <c:v>6.336E-2</c:v>
                </c:pt>
                <c:pt idx="121">
                  <c:v>6.4240000000000005E-2</c:v>
                </c:pt>
                <c:pt idx="122">
                  <c:v>6.4160000000000009E-2</c:v>
                </c:pt>
                <c:pt idx="123">
                  <c:v>6.3600000000000004E-2</c:v>
                </c:pt>
                <c:pt idx="124">
                  <c:v>6.293E-2</c:v>
                </c:pt>
                <c:pt idx="125">
                  <c:v>6.251000000000001E-2</c:v>
                </c:pt>
                <c:pt idx="126">
                  <c:v>6.3129999999999992E-2</c:v>
                </c:pt>
                <c:pt idx="127">
                  <c:v>6.3750000000000001E-2</c:v>
                </c:pt>
                <c:pt idx="128">
                  <c:v>6.3979999999999995E-2</c:v>
                </c:pt>
                <c:pt idx="129">
                  <c:v>6.4809999999999993E-2</c:v>
                </c:pt>
                <c:pt idx="130">
                  <c:v>6.5019999999999994E-2</c:v>
                </c:pt>
                <c:pt idx="131">
                  <c:v>6.4589999999999995E-2</c:v>
                </c:pt>
                <c:pt idx="132">
                  <c:v>6.3780000000000003E-2</c:v>
                </c:pt>
                <c:pt idx="133">
                  <c:v>6.3719999999999999E-2</c:v>
                </c:pt>
                <c:pt idx="134">
                  <c:v>6.3750000000000001E-2</c:v>
                </c:pt>
                <c:pt idx="135">
                  <c:v>6.2530000000000002E-2</c:v>
                </c:pt>
                <c:pt idx="136">
                  <c:v>6.1460000000000001E-2</c:v>
                </c:pt>
                <c:pt idx="137">
                  <c:v>6.2129999999999998E-2</c:v>
                </c:pt>
                <c:pt idx="138">
                  <c:v>6.2539999999999998E-2</c:v>
                </c:pt>
                <c:pt idx="139">
                  <c:v>6.2390000000000001E-2</c:v>
                </c:pt>
                <c:pt idx="140">
                  <c:v>6.2030000000000002E-2</c:v>
                </c:pt>
                <c:pt idx="141">
                  <c:v>5.9669999999999994E-2</c:v>
                </c:pt>
                <c:pt idx="142">
                  <c:v>5.9640000000000006E-2</c:v>
                </c:pt>
                <c:pt idx="143">
                  <c:v>5.9989999999999995E-2</c:v>
                </c:pt>
                <c:pt idx="144">
                  <c:v>6.0179999999999997E-2</c:v>
                </c:pt>
                <c:pt idx="145">
                  <c:v>6.0149999999999995E-2</c:v>
                </c:pt>
                <c:pt idx="146">
                  <c:v>5.8689999999999999E-2</c:v>
                </c:pt>
                <c:pt idx="147">
                  <c:v>5.7969999999999994E-2</c:v>
                </c:pt>
                <c:pt idx="148">
                  <c:v>5.9200000000000003E-2</c:v>
                </c:pt>
                <c:pt idx="149">
                  <c:v>5.9509999999999993E-2</c:v>
                </c:pt>
                <c:pt idx="150">
                  <c:v>6.0990000000000003E-2</c:v>
                </c:pt>
                <c:pt idx="151">
                  <c:v>6.0639999999999999E-2</c:v>
                </c:pt>
                <c:pt idx="152">
                  <c:v>6.0639999999999999E-2</c:v>
                </c:pt>
                <c:pt idx="153">
                  <c:v>6.1519999999999998E-2</c:v>
                </c:pt>
                <c:pt idx="154">
                  <c:v>6.2920000000000004E-2</c:v>
                </c:pt>
                <c:pt idx="155">
                  <c:v>6.3539999999999999E-2</c:v>
                </c:pt>
                <c:pt idx="156">
                  <c:v>6.4600000000000005E-2</c:v>
                </c:pt>
                <c:pt idx="157">
                  <c:v>6.3719999999999999E-2</c:v>
                </c:pt>
                <c:pt idx="158">
                  <c:v>6.3780000000000003E-2</c:v>
                </c:pt>
                <c:pt idx="159">
                  <c:v>6.3479999999999995E-2</c:v>
                </c:pt>
                <c:pt idx="160">
                  <c:v>6.3909999999999995E-2</c:v>
                </c:pt>
                <c:pt idx="161">
                  <c:v>6.3700000000000007E-2</c:v>
                </c:pt>
                <c:pt idx="162">
                  <c:v>6.3909999999999995E-2</c:v>
                </c:pt>
                <c:pt idx="163">
                  <c:v>6.3369999999999996E-2</c:v>
                </c:pt>
                <c:pt idx="164">
                  <c:v>6.3710000000000003E-2</c:v>
                </c:pt>
                <c:pt idx="165">
                  <c:v>6.3939999999999997E-2</c:v>
                </c:pt>
                <c:pt idx="166">
                  <c:v>6.3700000000000007E-2</c:v>
                </c:pt>
                <c:pt idx="167">
                  <c:v>6.2950000000000006E-2</c:v>
                </c:pt>
                <c:pt idx="168">
                  <c:v>6.3259999999999997E-2</c:v>
                </c:pt>
                <c:pt idx="169">
                  <c:v>6.3750000000000001E-2</c:v>
                </c:pt>
                <c:pt idx="170">
                  <c:v>6.4390000000000003E-2</c:v>
                </c:pt>
                <c:pt idx="171">
                  <c:v>6.4489999999999992E-2</c:v>
                </c:pt>
                <c:pt idx="172">
                  <c:v>6.454E-2</c:v>
                </c:pt>
                <c:pt idx="173">
                  <c:v>6.4229999999999995E-2</c:v>
                </c:pt>
                <c:pt idx="174">
                  <c:v>6.4280000000000004E-2</c:v>
                </c:pt>
                <c:pt idx="175">
                  <c:v>6.3890000000000002E-2</c:v>
                </c:pt>
                <c:pt idx="176">
                  <c:v>6.2489999999999997E-2</c:v>
                </c:pt>
                <c:pt idx="177">
                  <c:v>6.0999999999999999E-2</c:v>
                </c:pt>
                <c:pt idx="178">
                  <c:v>6.1679999999999999E-2</c:v>
                </c:pt>
                <c:pt idx="179">
                  <c:v>6.2920000000000004E-2</c:v>
                </c:pt>
                <c:pt idx="180">
                  <c:v>6.3090000000000007E-2</c:v>
                </c:pt>
                <c:pt idx="181">
                  <c:v>6.3230000000000008E-2</c:v>
                </c:pt>
                <c:pt idx="182">
                  <c:v>6.1989999999999996E-2</c:v>
                </c:pt>
                <c:pt idx="183">
                  <c:v>6.1620000000000001E-2</c:v>
                </c:pt>
                <c:pt idx="184">
                  <c:v>6.1879999999999998E-2</c:v>
                </c:pt>
                <c:pt idx="185">
                  <c:v>6.1799999999999994E-2</c:v>
                </c:pt>
                <c:pt idx="186">
                  <c:v>6.2579999999999997E-2</c:v>
                </c:pt>
                <c:pt idx="187">
                  <c:v>6.3E-2</c:v>
                </c:pt>
                <c:pt idx="188">
                  <c:v>6.3320000000000001E-2</c:v>
                </c:pt>
                <c:pt idx="189">
                  <c:v>6.343E-2</c:v>
                </c:pt>
                <c:pt idx="190">
                  <c:v>6.3369999999999996E-2</c:v>
                </c:pt>
                <c:pt idx="191">
                  <c:v>6.2910000000000008E-2</c:v>
                </c:pt>
                <c:pt idx="192">
                  <c:v>6.2699999999999992E-2</c:v>
                </c:pt>
                <c:pt idx="193">
                  <c:v>6.4140000000000003E-2</c:v>
                </c:pt>
                <c:pt idx="194">
                  <c:v>6.6049999999999998E-2</c:v>
                </c:pt>
                <c:pt idx="195">
                  <c:v>6.7240000000000008E-2</c:v>
                </c:pt>
                <c:pt idx="196">
                  <c:v>6.9440000000000002E-2</c:v>
                </c:pt>
                <c:pt idx="197">
                  <c:v>6.9010000000000002E-2</c:v>
                </c:pt>
                <c:pt idx="198">
                  <c:v>6.8489999999999995E-2</c:v>
                </c:pt>
                <c:pt idx="199">
                  <c:v>6.726E-2</c:v>
                </c:pt>
                <c:pt idx="200">
                  <c:v>6.6639999999999991E-2</c:v>
                </c:pt>
                <c:pt idx="201">
                  <c:v>6.5939999999999999E-2</c:v>
                </c:pt>
                <c:pt idx="202">
                  <c:v>6.448000000000001E-2</c:v>
                </c:pt>
                <c:pt idx="203">
                  <c:v>6.4589999999999995E-2</c:v>
                </c:pt>
                <c:pt idx="204">
                  <c:v>6.5070000000000003E-2</c:v>
                </c:pt>
                <c:pt idx="205">
                  <c:v>6.5659999999999996E-2</c:v>
                </c:pt>
                <c:pt idx="206">
                  <c:v>6.5610000000000002E-2</c:v>
                </c:pt>
                <c:pt idx="207">
                  <c:v>6.5599999999999992E-2</c:v>
                </c:pt>
                <c:pt idx="208">
                  <c:v>6.5640000000000004E-2</c:v>
                </c:pt>
                <c:pt idx="209">
                  <c:v>6.5689999999999998E-2</c:v>
                </c:pt>
                <c:pt idx="210">
                  <c:v>6.5030000000000004E-2</c:v>
                </c:pt>
                <c:pt idx="211">
                  <c:v>6.5269999999999995E-2</c:v>
                </c:pt>
                <c:pt idx="212">
                  <c:v>6.5759999999999999E-2</c:v>
                </c:pt>
                <c:pt idx="213">
                  <c:v>6.4059999999999992E-2</c:v>
                </c:pt>
                <c:pt idx="214">
                  <c:v>6.368E-2</c:v>
                </c:pt>
                <c:pt idx="215">
                  <c:v>6.3630000000000006E-2</c:v>
                </c:pt>
                <c:pt idx="216">
                  <c:v>6.3350000000000004E-2</c:v>
                </c:pt>
                <c:pt idx="217">
                  <c:v>6.3099999999999989E-2</c:v>
                </c:pt>
                <c:pt idx="218">
                  <c:v>6.3250000000000001E-2</c:v>
                </c:pt>
                <c:pt idx="219">
                  <c:v>6.3369999999999996E-2</c:v>
                </c:pt>
                <c:pt idx="220">
                  <c:v>6.3219999999999998E-2</c:v>
                </c:pt>
                <c:pt idx="221">
                  <c:v>6.4259999999999998E-2</c:v>
                </c:pt>
                <c:pt idx="222">
                  <c:v>6.5070000000000003E-2</c:v>
                </c:pt>
                <c:pt idx="223">
                  <c:v>6.5269999999999995E-2</c:v>
                </c:pt>
                <c:pt idx="224">
                  <c:v>6.5070000000000003E-2</c:v>
                </c:pt>
                <c:pt idx="225">
                  <c:v>6.5009999999999998E-2</c:v>
                </c:pt>
                <c:pt idx="226">
                  <c:v>6.6000000000000003E-2</c:v>
                </c:pt>
                <c:pt idx="227">
                  <c:v>6.6029999999999991E-2</c:v>
                </c:pt>
                <c:pt idx="228">
                  <c:v>6.6130000000000008E-2</c:v>
                </c:pt>
                <c:pt idx="229">
                  <c:v>6.7210000000000006E-2</c:v>
                </c:pt>
                <c:pt idx="230">
                  <c:v>6.8680000000000005E-2</c:v>
                </c:pt>
                <c:pt idx="231">
                  <c:v>6.9760000000000003E-2</c:v>
                </c:pt>
                <c:pt idx="232">
                  <c:v>6.8589999999999998E-2</c:v>
                </c:pt>
                <c:pt idx="233">
                  <c:v>6.7390000000000005E-2</c:v>
                </c:pt>
                <c:pt idx="234">
                  <c:v>6.6790000000000002E-2</c:v>
                </c:pt>
                <c:pt idx="235">
                  <c:v>6.7709999999999992E-2</c:v>
                </c:pt>
                <c:pt idx="236">
                  <c:v>6.719E-2</c:v>
                </c:pt>
                <c:pt idx="237">
                  <c:v>6.6879999999999995E-2</c:v>
                </c:pt>
                <c:pt idx="238">
                  <c:v>6.6610000000000003E-2</c:v>
                </c:pt>
                <c:pt idx="239">
                  <c:v>6.6740000000000008E-2</c:v>
                </c:pt>
                <c:pt idx="240">
                  <c:v>6.6610000000000003E-2</c:v>
                </c:pt>
                <c:pt idx="241">
                  <c:v>6.6119999999999998E-2</c:v>
                </c:pt>
                <c:pt idx="242">
                  <c:v>6.5269999999999995E-2</c:v>
                </c:pt>
                <c:pt idx="243">
                  <c:v>6.6250000000000003E-2</c:v>
                </c:pt>
                <c:pt idx="244">
                  <c:v>6.7489999999999994E-2</c:v>
                </c:pt>
                <c:pt idx="245">
                  <c:v>6.7900000000000002E-2</c:v>
                </c:pt>
                <c:pt idx="246">
                  <c:v>6.8099999999999994E-2</c:v>
                </c:pt>
                <c:pt idx="247">
                  <c:v>6.7360000000000003E-2</c:v>
                </c:pt>
                <c:pt idx="248">
                  <c:v>6.8819999999999992E-2</c:v>
                </c:pt>
                <c:pt idx="249">
                  <c:v>6.9429999999999992E-2</c:v>
                </c:pt>
                <c:pt idx="250">
                  <c:v>7.0309999999999997E-2</c:v>
                </c:pt>
                <c:pt idx="251">
                  <c:v>6.9839999999999999E-2</c:v>
                </c:pt>
                <c:pt idx="252">
                  <c:v>6.9379999999999997E-2</c:v>
                </c:pt>
                <c:pt idx="253">
                  <c:v>6.9949999999999998E-2</c:v>
                </c:pt>
                <c:pt idx="254">
                  <c:v>7.0519999999999999E-2</c:v>
                </c:pt>
                <c:pt idx="255">
                  <c:v>7.0879999999999999E-2</c:v>
                </c:pt>
                <c:pt idx="256">
                  <c:v>7.1889999999999996E-2</c:v>
                </c:pt>
                <c:pt idx="257">
                  <c:v>7.177E-2</c:v>
                </c:pt>
                <c:pt idx="258">
                  <c:v>6.9889999999999994E-2</c:v>
                </c:pt>
                <c:pt idx="259">
                  <c:v>6.9640000000000007E-2</c:v>
                </c:pt>
                <c:pt idx="260">
                  <c:v>6.9640000000000007E-2</c:v>
                </c:pt>
                <c:pt idx="261">
                  <c:v>7.0629999999999998E-2</c:v>
                </c:pt>
                <c:pt idx="262">
                  <c:v>7.0669999999999997E-2</c:v>
                </c:pt>
                <c:pt idx="263">
                  <c:v>7.2230000000000003E-2</c:v>
                </c:pt>
                <c:pt idx="264">
                  <c:v>7.4469999999999995E-2</c:v>
                </c:pt>
                <c:pt idx="265">
                  <c:v>7.4929999999999997E-2</c:v>
                </c:pt>
                <c:pt idx="266">
                  <c:v>7.3410000000000003E-2</c:v>
                </c:pt>
                <c:pt idx="267">
                  <c:v>7.3499999999999996E-2</c:v>
                </c:pt>
                <c:pt idx="268">
                  <c:v>7.2959999999999997E-2</c:v>
                </c:pt>
                <c:pt idx="269">
                  <c:v>7.4029999999999999E-2</c:v>
                </c:pt>
                <c:pt idx="270">
                  <c:v>7.4490000000000001E-2</c:v>
                </c:pt>
                <c:pt idx="271">
                  <c:v>7.3419999999999999E-2</c:v>
                </c:pt>
                <c:pt idx="272">
                  <c:v>7.2080000000000005E-2</c:v>
                </c:pt>
                <c:pt idx="273">
                  <c:v>7.0540000000000005E-2</c:v>
                </c:pt>
                <c:pt idx="274">
                  <c:v>7.1859999999999993E-2</c:v>
                </c:pt>
                <c:pt idx="275">
                  <c:v>7.2220000000000006E-2</c:v>
                </c:pt>
                <c:pt idx="276">
                  <c:v>7.2660000000000002E-2</c:v>
                </c:pt>
                <c:pt idx="277">
                  <c:v>7.1719999999999992E-2</c:v>
                </c:pt>
                <c:pt idx="278">
                  <c:v>7.1790000000000007E-2</c:v>
                </c:pt>
                <c:pt idx="279">
                  <c:v>7.0900000000000005E-2</c:v>
                </c:pt>
                <c:pt idx="280">
                  <c:v>6.9400000000000003E-2</c:v>
                </c:pt>
                <c:pt idx="281">
                  <c:v>7.0460000000000009E-2</c:v>
                </c:pt>
                <c:pt idx="282">
                  <c:v>7.1040000000000006E-2</c:v>
                </c:pt>
                <c:pt idx="283">
                  <c:v>7.1510000000000004E-2</c:v>
                </c:pt>
                <c:pt idx="284">
                  <c:v>7.0940000000000003E-2</c:v>
                </c:pt>
                <c:pt idx="285">
                  <c:v>7.2840000000000002E-2</c:v>
                </c:pt>
                <c:pt idx="286">
                  <c:v>7.3689999999999992E-2</c:v>
                </c:pt>
                <c:pt idx="287">
                  <c:v>7.4260000000000007E-2</c:v>
                </c:pt>
                <c:pt idx="288">
                  <c:v>7.5220000000000009E-2</c:v>
                </c:pt>
                <c:pt idx="289">
                  <c:v>7.8339999999999993E-2</c:v>
                </c:pt>
                <c:pt idx="290">
                  <c:v>7.7770000000000006E-2</c:v>
                </c:pt>
                <c:pt idx="291">
                  <c:v>7.7210000000000001E-2</c:v>
                </c:pt>
                <c:pt idx="292">
                  <c:v>7.8179999999999999E-2</c:v>
                </c:pt>
                <c:pt idx="293">
                  <c:v>7.9089999999999994E-2</c:v>
                </c:pt>
                <c:pt idx="294">
                  <c:v>8.022E-2</c:v>
                </c:pt>
                <c:pt idx="295">
                  <c:v>7.9379999999999992E-2</c:v>
                </c:pt>
                <c:pt idx="296">
                  <c:v>8.2490000000000008E-2</c:v>
                </c:pt>
                <c:pt idx="297">
                  <c:v>8.3409999999999998E-2</c:v>
                </c:pt>
                <c:pt idx="298">
                  <c:v>8.3160000000000012E-2</c:v>
                </c:pt>
                <c:pt idx="299">
                  <c:v>8.231999999999999E-2</c:v>
                </c:pt>
                <c:pt idx="300">
                  <c:v>8.317999999999999E-2</c:v>
                </c:pt>
                <c:pt idx="301">
                  <c:v>8.3409999999999998E-2</c:v>
                </c:pt>
                <c:pt idx="302">
                  <c:v>8.5009999999999988E-2</c:v>
                </c:pt>
                <c:pt idx="303">
                  <c:v>8.6629999999999999E-2</c:v>
                </c:pt>
                <c:pt idx="304">
                  <c:v>8.6319999999999994E-2</c:v>
                </c:pt>
                <c:pt idx="305">
                  <c:v>8.4830000000000003E-2</c:v>
                </c:pt>
                <c:pt idx="306">
                  <c:v>8.6259999999999989E-2</c:v>
                </c:pt>
                <c:pt idx="307">
                  <c:v>8.7529999999999997E-2</c:v>
                </c:pt>
                <c:pt idx="308">
                  <c:v>8.9520000000000002E-2</c:v>
                </c:pt>
                <c:pt idx="309">
                  <c:v>8.8480000000000003E-2</c:v>
                </c:pt>
                <c:pt idx="310">
                  <c:v>8.8350000000000012E-2</c:v>
                </c:pt>
                <c:pt idx="311">
                  <c:v>8.9090000000000003E-2</c:v>
                </c:pt>
                <c:pt idx="312">
                  <c:v>8.8829999999999992E-2</c:v>
                </c:pt>
                <c:pt idx="313">
                  <c:v>8.924E-2</c:v>
                </c:pt>
                <c:pt idx="314">
                  <c:v>8.9939999999999992E-2</c:v>
                </c:pt>
                <c:pt idx="315">
                  <c:v>9.1359999999999997E-2</c:v>
                </c:pt>
                <c:pt idx="316">
                  <c:v>9.2059999999999989E-2</c:v>
                </c:pt>
                <c:pt idx="317">
                  <c:v>9.1780000000000014E-2</c:v>
                </c:pt>
                <c:pt idx="318">
                  <c:v>9.1170000000000015E-2</c:v>
                </c:pt>
                <c:pt idx="319">
                  <c:v>8.9990000000000001E-2</c:v>
                </c:pt>
                <c:pt idx="320">
                  <c:v>8.763E-2</c:v>
                </c:pt>
                <c:pt idx="321">
                  <c:v>8.5909999999999986E-2</c:v>
                </c:pt>
                <c:pt idx="322">
                  <c:v>8.5129999999999997E-2</c:v>
                </c:pt>
                <c:pt idx="323">
                  <c:v>8.7230000000000002E-2</c:v>
                </c:pt>
                <c:pt idx="324">
                  <c:v>8.9469999999999994E-2</c:v>
                </c:pt>
                <c:pt idx="325">
                  <c:v>8.9419999999999999E-2</c:v>
                </c:pt>
                <c:pt idx="326">
                  <c:v>9.0429999999999996E-2</c:v>
                </c:pt>
                <c:pt idx="327">
                  <c:v>9.2330000000000009E-2</c:v>
                </c:pt>
                <c:pt idx="328">
                  <c:v>9.1400000000000009E-2</c:v>
                </c:pt>
                <c:pt idx="329">
                  <c:v>9.0859999999999996E-2</c:v>
                </c:pt>
                <c:pt idx="330">
                  <c:v>9.2300000000000007E-2</c:v>
                </c:pt>
                <c:pt idx="331">
                  <c:v>9.4899999999999998E-2</c:v>
                </c:pt>
                <c:pt idx="332">
                  <c:v>0.10233</c:v>
                </c:pt>
                <c:pt idx="333">
                  <c:v>0.10545</c:v>
                </c:pt>
                <c:pt idx="334">
                  <c:v>0.10198</c:v>
                </c:pt>
                <c:pt idx="335">
                  <c:v>0.10395</c:v>
                </c:pt>
                <c:pt idx="336">
                  <c:v>0.10348</c:v>
                </c:pt>
                <c:pt idx="337">
                  <c:v>0.10353</c:v>
                </c:pt>
                <c:pt idx="338">
                  <c:v>0.10391</c:v>
                </c:pt>
                <c:pt idx="339">
                  <c:v>0.10455</c:v>
                </c:pt>
                <c:pt idx="340">
                  <c:v>0.10541</c:v>
                </c:pt>
                <c:pt idx="341">
                  <c:v>0.10731</c:v>
                </c:pt>
                <c:pt idx="342">
                  <c:v>0.11103999999999999</c:v>
                </c:pt>
                <c:pt idx="343">
                  <c:v>0.11074000000000001</c:v>
                </c:pt>
                <c:pt idx="344">
                  <c:v>0.10946</c:v>
                </c:pt>
                <c:pt idx="345">
                  <c:v>0.10492000000000001</c:v>
                </c:pt>
                <c:pt idx="346">
                  <c:v>0.10595</c:v>
                </c:pt>
                <c:pt idx="347">
                  <c:v>0.10807</c:v>
                </c:pt>
                <c:pt idx="348">
                  <c:v>0.10711999999999999</c:v>
                </c:pt>
                <c:pt idx="349">
                  <c:v>0.10676000000000001</c:v>
                </c:pt>
                <c:pt idx="350">
                  <c:v>0.10819000000000001</c:v>
                </c:pt>
                <c:pt idx="351">
                  <c:v>0.10999</c:v>
                </c:pt>
                <c:pt idx="352">
                  <c:v>0.11127000000000001</c:v>
                </c:pt>
                <c:pt idx="353">
                  <c:v>0.11466</c:v>
                </c:pt>
                <c:pt idx="354">
                  <c:v>0.11451</c:v>
                </c:pt>
                <c:pt idx="355">
                  <c:v>0.11314</c:v>
                </c:pt>
                <c:pt idx="356">
                  <c:v>0.1108</c:v>
                </c:pt>
                <c:pt idx="357">
                  <c:v>0.10804999999999999</c:v>
                </c:pt>
                <c:pt idx="358">
                  <c:v>0.10634</c:v>
                </c:pt>
                <c:pt idx="359">
                  <c:v>0.10423</c:v>
                </c:pt>
                <c:pt idx="360">
                  <c:v>0.10349</c:v>
                </c:pt>
                <c:pt idx="361">
                  <c:v>0.10493000000000001</c:v>
                </c:pt>
                <c:pt idx="362">
                  <c:v>0.10432000000000001</c:v>
                </c:pt>
                <c:pt idx="363">
                  <c:v>9.9990000000000009E-2</c:v>
                </c:pt>
                <c:pt idx="364">
                  <c:v>9.8780000000000007E-2</c:v>
                </c:pt>
                <c:pt idx="365">
                  <c:v>9.9229999999999999E-2</c:v>
                </c:pt>
                <c:pt idx="366">
                  <c:v>0.10085000000000001</c:v>
                </c:pt>
                <c:pt idx="367">
                  <c:v>9.9410000000000012E-2</c:v>
                </c:pt>
                <c:pt idx="368">
                  <c:v>9.6159999999999995E-2</c:v>
                </c:pt>
                <c:pt idx="369">
                  <c:v>9.6980000000000011E-2</c:v>
                </c:pt>
                <c:pt idx="370">
                  <c:v>9.5229999999999995E-2</c:v>
                </c:pt>
                <c:pt idx="371">
                  <c:v>9.8040000000000002E-2</c:v>
                </c:pt>
                <c:pt idx="372">
                  <c:v>9.3170000000000003E-2</c:v>
                </c:pt>
                <c:pt idx="373">
                  <c:v>9.2560000000000003E-2</c:v>
                </c:pt>
                <c:pt idx="374">
                  <c:v>9.282E-2</c:v>
                </c:pt>
                <c:pt idx="375">
                  <c:v>9.3900000000000011E-2</c:v>
                </c:pt>
                <c:pt idx="376">
                  <c:v>9.5680000000000001E-2</c:v>
                </c:pt>
                <c:pt idx="377">
                  <c:v>9.8789999999999989E-2</c:v>
                </c:pt>
                <c:pt idx="378">
                  <c:v>9.7470000000000001E-2</c:v>
                </c:pt>
                <c:pt idx="379">
                  <c:v>9.9169999999999994E-2</c:v>
                </c:pt>
                <c:pt idx="380">
                  <c:v>0.10102999999999999</c:v>
                </c:pt>
                <c:pt idx="381">
                  <c:v>9.8629999999999995E-2</c:v>
                </c:pt>
                <c:pt idx="382">
                  <c:v>9.7710000000000005E-2</c:v>
                </c:pt>
                <c:pt idx="383">
                  <c:v>9.7409999999999997E-2</c:v>
                </c:pt>
                <c:pt idx="384">
                  <c:v>9.8119999999999999E-2</c:v>
                </c:pt>
                <c:pt idx="385">
                  <c:v>0.10095000000000001</c:v>
                </c:pt>
                <c:pt idx="386">
                  <c:v>0.10284</c:v>
                </c:pt>
                <c:pt idx="387">
                  <c:v>0.10416</c:v>
                </c:pt>
                <c:pt idx="388">
                  <c:v>0.10512000000000001</c:v>
                </c:pt>
                <c:pt idx="389">
                  <c:v>0.10361000000000001</c:v>
                </c:pt>
                <c:pt idx="390">
                  <c:v>0.10464999999999999</c:v>
                </c:pt>
                <c:pt idx="391">
                  <c:v>0.10289</c:v>
                </c:pt>
                <c:pt idx="392">
                  <c:v>0.10289999999999999</c:v>
                </c:pt>
                <c:pt idx="393">
                  <c:v>0.10285999999999999</c:v>
                </c:pt>
                <c:pt idx="394">
                  <c:v>0.1024</c:v>
                </c:pt>
                <c:pt idx="395">
                  <c:v>0.10528</c:v>
                </c:pt>
                <c:pt idx="396">
                  <c:v>0.10516</c:v>
                </c:pt>
                <c:pt idx="397">
                  <c:v>0.10493000000000001</c:v>
                </c:pt>
                <c:pt idx="398">
                  <c:v>0.10693</c:v>
                </c:pt>
                <c:pt idx="399">
                  <c:v>0.10722</c:v>
                </c:pt>
                <c:pt idx="400">
                  <c:v>0.10976000000000001</c:v>
                </c:pt>
                <c:pt idx="401">
                  <c:v>0.11108000000000001</c:v>
                </c:pt>
                <c:pt idx="402">
                  <c:v>0.11352000000000001</c:v>
                </c:pt>
                <c:pt idx="403">
                  <c:v>0.11681</c:v>
                </c:pt>
                <c:pt idx="404">
                  <c:v>0.12071</c:v>
                </c:pt>
                <c:pt idx="405">
                  <c:v>0.12301999999999999</c:v>
                </c:pt>
                <c:pt idx="406">
                  <c:v>0.12166</c:v>
                </c:pt>
                <c:pt idx="407">
                  <c:v>0.12289</c:v>
                </c:pt>
                <c:pt idx="408">
                  <c:v>0.12264</c:v>
                </c:pt>
                <c:pt idx="409">
                  <c:v>0.11964999999999999</c:v>
                </c:pt>
                <c:pt idx="410">
                  <c:v>0.11581</c:v>
                </c:pt>
                <c:pt idx="411">
                  <c:v>0.11753</c:v>
                </c:pt>
                <c:pt idx="412">
                  <c:v>0.11712</c:v>
                </c:pt>
                <c:pt idx="413">
                  <c:v>0.11799</c:v>
                </c:pt>
                <c:pt idx="414">
                  <c:v>0.11939999999999999</c:v>
                </c:pt>
                <c:pt idx="415">
                  <c:v>0.11907</c:v>
                </c:pt>
                <c:pt idx="416">
                  <c:v>0.12003999999999999</c:v>
                </c:pt>
                <c:pt idx="417">
                  <c:v>0.11978</c:v>
                </c:pt>
                <c:pt idx="418">
                  <c:v>0.11739000000000001</c:v>
                </c:pt>
                <c:pt idx="419">
                  <c:v>0.11462</c:v>
                </c:pt>
                <c:pt idx="420">
                  <c:v>0.11653000000000001</c:v>
                </c:pt>
                <c:pt idx="421">
                  <c:v>0.11749000000000001</c:v>
                </c:pt>
                <c:pt idx="422">
                  <c:v>0.11704000000000001</c:v>
                </c:pt>
                <c:pt idx="423">
                  <c:v>0.11416</c:v>
                </c:pt>
                <c:pt idx="424">
                  <c:v>0.11098000000000001</c:v>
                </c:pt>
                <c:pt idx="425">
                  <c:v>0.11074000000000001</c:v>
                </c:pt>
                <c:pt idx="426">
                  <c:v>0.11065</c:v>
                </c:pt>
                <c:pt idx="427">
                  <c:v>0.10990999999999999</c:v>
                </c:pt>
                <c:pt idx="428">
                  <c:v>0.1118</c:v>
                </c:pt>
                <c:pt idx="429">
                  <c:v>0.11021</c:v>
                </c:pt>
                <c:pt idx="430">
                  <c:v>0.11055</c:v>
                </c:pt>
                <c:pt idx="431">
                  <c:v>0.11178</c:v>
                </c:pt>
                <c:pt idx="432">
                  <c:v>0.11079</c:v>
                </c:pt>
                <c:pt idx="433">
                  <c:v>0.10881</c:v>
                </c:pt>
                <c:pt idx="434">
                  <c:v>0.10894999999999999</c:v>
                </c:pt>
                <c:pt idx="435">
                  <c:v>0.111</c:v>
                </c:pt>
                <c:pt idx="436">
                  <c:v>0.1051</c:v>
                </c:pt>
                <c:pt idx="437">
                  <c:v>0.10493999999999999</c:v>
                </c:pt>
                <c:pt idx="438">
                  <c:v>0.10305999999999998</c:v>
                </c:pt>
                <c:pt idx="439">
                  <c:v>0.10305</c:v>
                </c:pt>
                <c:pt idx="440">
                  <c:v>0.10476000000000001</c:v>
                </c:pt>
                <c:pt idx="441">
                  <c:v>0.10493000000000001</c:v>
                </c:pt>
                <c:pt idx="442">
                  <c:v>0.10595</c:v>
                </c:pt>
                <c:pt idx="443">
                  <c:v>0.1065</c:v>
                </c:pt>
                <c:pt idx="444">
                  <c:v>0.10659</c:v>
                </c:pt>
                <c:pt idx="445">
                  <c:v>0.10682</c:v>
                </c:pt>
                <c:pt idx="446">
                  <c:v>0.10855000000000001</c:v>
                </c:pt>
                <c:pt idx="447">
                  <c:v>0.10822</c:v>
                </c:pt>
                <c:pt idx="448">
                  <c:v>0.10596</c:v>
                </c:pt>
                <c:pt idx="449">
                  <c:v>0.10131</c:v>
                </c:pt>
                <c:pt idx="450">
                  <c:v>0.10213</c:v>
                </c:pt>
                <c:pt idx="451">
                  <c:v>0.10516</c:v>
                </c:pt>
                <c:pt idx="452">
                  <c:v>0.10784000000000001</c:v>
                </c:pt>
                <c:pt idx="453">
                  <c:v>0.10644999999999999</c:v>
                </c:pt>
                <c:pt idx="454">
                  <c:v>0.10488</c:v>
                </c:pt>
                <c:pt idx="455">
                  <c:v>0.1042</c:v>
                </c:pt>
                <c:pt idx="456">
                  <c:v>0.10416</c:v>
                </c:pt>
                <c:pt idx="457">
                  <c:v>0.10223</c:v>
                </c:pt>
                <c:pt idx="458">
                  <c:v>0.1017</c:v>
                </c:pt>
                <c:pt idx="459">
                  <c:v>0.10243000000000001</c:v>
                </c:pt>
                <c:pt idx="460">
                  <c:v>0.10361000000000001</c:v>
                </c:pt>
                <c:pt idx="461">
                  <c:v>0.10563</c:v>
                </c:pt>
                <c:pt idx="462">
                  <c:v>0.10596</c:v>
                </c:pt>
                <c:pt idx="463">
                  <c:v>0.10324999999999999</c:v>
                </c:pt>
                <c:pt idx="464">
                  <c:v>0.10289</c:v>
                </c:pt>
                <c:pt idx="465">
                  <c:v>0.10301</c:v>
                </c:pt>
                <c:pt idx="466">
                  <c:v>0.10382999999999999</c:v>
                </c:pt>
                <c:pt idx="467">
                  <c:v>0.10449</c:v>
                </c:pt>
                <c:pt idx="468">
                  <c:v>0.10390000000000001</c:v>
                </c:pt>
                <c:pt idx="469">
                  <c:v>0.10417999999999999</c:v>
                </c:pt>
                <c:pt idx="470">
                  <c:v>0.10289999999999999</c:v>
                </c:pt>
                <c:pt idx="471">
                  <c:v>0.1018</c:v>
                </c:pt>
                <c:pt idx="472">
                  <c:v>0.10329000000000001</c:v>
                </c:pt>
                <c:pt idx="473">
                  <c:v>0.1014</c:v>
                </c:pt>
                <c:pt idx="474">
                  <c:v>0.10025000000000001</c:v>
                </c:pt>
                <c:pt idx="475">
                  <c:v>0.10092000000000001</c:v>
                </c:pt>
                <c:pt idx="476">
                  <c:v>9.8770000000000011E-2</c:v>
                </c:pt>
                <c:pt idx="477">
                  <c:v>9.5920000000000005E-2</c:v>
                </c:pt>
                <c:pt idx="478">
                  <c:v>9.6099999999999991E-2</c:v>
                </c:pt>
                <c:pt idx="479">
                  <c:v>9.5920000000000005E-2</c:v>
                </c:pt>
                <c:pt idx="480">
                  <c:v>9.3420000000000003E-2</c:v>
                </c:pt>
                <c:pt idx="481">
                  <c:v>9.3710000000000002E-2</c:v>
                </c:pt>
                <c:pt idx="482">
                  <c:v>9.3870000000000009E-2</c:v>
                </c:pt>
                <c:pt idx="483">
                  <c:v>9.3350000000000002E-2</c:v>
                </c:pt>
                <c:pt idx="484">
                  <c:v>9.391999999999999E-2</c:v>
                </c:pt>
                <c:pt idx="485">
                  <c:v>9.5589999999999994E-2</c:v>
                </c:pt>
                <c:pt idx="486">
                  <c:v>9.5630000000000007E-2</c:v>
                </c:pt>
                <c:pt idx="487">
                  <c:v>9.444000000000001E-2</c:v>
                </c:pt>
                <c:pt idx="488">
                  <c:v>9.6890000000000004E-2</c:v>
                </c:pt>
                <c:pt idx="489">
                  <c:v>9.5879999999999993E-2</c:v>
                </c:pt>
                <c:pt idx="490">
                  <c:v>9.5159999999999995E-2</c:v>
                </c:pt>
                <c:pt idx="491">
                  <c:v>9.2509999999999995E-2</c:v>
                </c:pt>
                <c:pt idx="492">
                  <c:v>9.4079999999999997E-2</c:v>
                </c:pt>
                <c:pt idx="493">
                  <c:v>9.6349999999999991E-2</c:v>
                </c:pt>
                <c:pt idx="494">
                  <c:v>9.7119999999999998E-2</c:v>
                </c:pt>
                <c:pt idx="495">
                  <c:v>9.8019999999999996E-2</c:v>
                </c:pt>
                <c:pt idx="496">
                  <c:v>9.8559999999999995E-2</c:v>
                </c:pt>
                <c:pt idx="497">
                  <c:v>0.10038</c:v>
                </c:pt>
                <c:pt idx="498">
                  <c:v>9.9970000000000003E-2</c:v>
                </c:pt>
                <c:pt idx="499">
                  <c:v>0.10067</c:v>
                </c:pt>
                <c:pt idx="500">
                  <c:v>0.10156999999999999</c:v>
                </c:pt>
                <c:pt idx="501">
                  <c:v>0.10202</c:v>
                </c:pt>
                <c:pt idx="502">
                  <c:v>0.10223</c:v>
                </c:pt>
                <c:pt idx="503">
                  <c:v>0.10435</c:v>
                </c:pt>
                <c:pt idx="504">
                  <c:v>0.10406</c:v>
                </c:pt>
                <c:pt idx="505">
                  <c:v>0.10159000000000001</c:v>
                </c:pt>
                <c:pt idx="506">
                  <c:v>0.10172</c:v>
                </c:pt>
                <c:pt idx="507">
                  <c:v>0.10205</c:v>
                </c:pt>
                <c:pt idx="508">
                  <c:v>0.10377</c:v>
                </c:pt>
                <c:pt idx="509">
                  <c:v>0.10525000000000001</c:v>
                </c:pt>
                <c:pt idx="510">
                  <c:v>0.10721</c:v>
                </c:pt>
                <c:pt idx="511">
                  <c:v>0.10609</c:v>
                </c:pt>
                <c:pt idx="512">
                  <c:v>0.10528999999999999</c:v>
                </c:pt>
                <c:pt idx="513">
                  <c:v>0.1065</c:v>
                </c:pt>
                <c:pt idx="514">
                  <c:v>0.10807</c:v>
                </c:pt>
                <c:pt idx="515">
                  <c:v>0.10929</c:v>
                </c:pt>
                <c:pt idx="516">
                  <c:v>0.10884000000000001</c:v>
                </c:pt>
                <c:pt idx="517">
                  <c:v>0.11012000000000001</c:v>
                </c:pt>
                <c:pt idx="518">
                  <c:v>0.10999</c:v>
                </c:pt>
                <c:pt idx="519">
                  <c:v>0.11210000000000001</c:v>
                </c:pt>
                <c:pt idx="520">
                  <c:v>0.11272</c:v>
                </c:pt>
                <c:pt idx="521">
                  <c:v>0.11324999999999999</c:v>
                </c:pt>
                <c:pt idx="522">
                  <c:v>0.11473000000000001</c:v>
                </c:pt>
                <c:pt idx="523">
                  <c:v>0.11254</c:v>
                </c:pt>
                <c:pt idx="524">
                  <c:v>0.10978</c:v>
                </c:pt>
                <c:pt idx="525">
                  <c:v>0.10893000000000001</c:v>
                </c:pt>
                <c:pt idx="526">
                  <c:v>0.11026</c:v>
                </c:pt>
                <c:pt idx="527">
                  <c:v>0.11085</c:v>
                </c:pt>
                <c:pt idx="528">
                  <c:v>0.11099000000000001</c:v>
                </c:pt>
                <c:pt idx="529">
                  <c:v>0.10915</c:v>
                </c:pt>
                <c:pt idx="530">
                  <c:v>0.10659</c:v>
                </c:pt>
                <c:pt idx="531">
                  <c:v>0.10414999999999999</c:v>
                </c:pt>
                <c:pt idx="532">
                  <c:v>0.10317</c:v>
                </c:pt>
                <c:pt idx="533">
                  <c:v>0.10564</c:v>
                </c:pt>
                <c:pt idx="534">
                  <c:v>0.10762000000000001</c:v>
                </c:pt>
                <c:pt idx="535">
                  <c:v>0.10711</c:v>
                </c:pt>
                <c:pt idx="536">
                  <c:v>0.10715999999999999</c:v>
                </c:pt>
                <c:pt idx="537">
                  <c:v>0.10705999999999999</c:v>
                </c:pt>
                <c:pt idx="538">
                  <c:v>0.10644999999999999</c:v>
                </c:pt>
                <c:pt idx="539">
                  <c:v>0.10636</c:v>
                </c:pt>
                <c:pt idx="540">
                  <c:v>0.10601000000000001</c:v>
                </c:pt>
                <c:pt idx="541">
                  <c:v>0.10675000000000001</c:v>
                </c:pt>
                <c:pt idx="542">
                  <c:v>0.10580000000000001</c:v>
                </c:pt>
                <c:pt idx="543">
                  <c:v>0.10673000000000001</c:v>
                </c:pt>
                <c:pt idx="544">
                  <c:v>0.10708000000000001</c:v>
                </c:pt>
                <c:pt idx="545">
                  <c:v>0.10721</c:v>
                </c:pt>
                <c:pt idx="546">
                  <c:v>0.10686999999999999</c:v>
                </c:pt>
                <c:pt idx="547">
                  <c:v>0.10739000000000001</c:v>
                </c:pt>
                <c:pt idx="548">
                  <c:v>0.10868</c:v>
                </c:pt>
                <c:pt idx="549">
                  <c:v>0.11074999999999999</c:v>
                </c:pt>
                <c:pt idx="550">
                  <c:v>0.11005000000000001</c:v>
                </c:pt>
                <c:pt idx="551">
                  <c:v>0.11096</c:v>
                </c:pt>
                <c:pt idx="552">
                  <c:v>0.11083999999999999</c:v>
                </c:pt>
                <c:pt idx="553">
                  <c:v>0.11105000000000001</c:v>
                </c:pt>
                <c:pt idx="554">
                  <c:v>0.11279</c:v>
                </c:pt>
                <c:pt idx="555">
                  <c:v>0.11301</c:v>
                </c:pt>
                <c:pt idx="556">
                  <c:v>0.11361</c:v>
                </c:pt>
                <c:pt idx="557">
                  <c:v>0.11413000000000001</c:v>
                </c:pt>
                <c:pt idx="558">
                  <c:v>0.11364</c:v>
                </c:pt>
                <c:pt idx="559">
                  <c:v>0.11305</c:v>
                </c:pt>
                <c:pt idx="560">
                  <c:v>0.11381999999999999</c:v>
                </c:pt>
                <c:pt idx="561">
                  <c:v>0.11495</c:v>
                </c:pt>
                <c:pt idx="562">
                  <c:v>0.11545</c:v>
                </c:pt>
                <c:pt idx="563">
                  <c:v>0.11401</c:v>
                </c:pt>
                <c:pt idx="564">
                  <c:v>0.11428000000000001</c:v>
                </c:pt>
                <c:pt idx="565">
                  <c:v>0.11413999999999999</c:v>
                </c:pt>
                <c:pt idx="566">
                  <c:v>0.11413000000000001</c:v>
                </c:pt>
                <c:pt idx="567">
                  <c:v>0.11541</c:v>
                </c:pt>
                <c:pt idx="568">
                  <c:v>0.11689999999999999</c:v>
                </c:pt>
                <c:pt idx="569">
                  <c:v>0.11738</c:v>
                </c:pt>
                <c:pt idx="570">
                  <c:v>0.11707000000000001</c:v>
                </c:pt>
                <c:pt idx="571">
                  <c:v>0.11587</c:v>
                </c:pt>
                <c:pt idx="572">
                  <c:v>0.11627000000000001</c:v>
                </c:pt>
                <c:pt idx="573">
                  <c:v>0.11592000000000001</c:v>
                </c:pt>
                <c:pt idx="574">
                  <c:v>0.11563000000000001</c:v>
                </c:pt>
                <c:pt idx="575">
                  <c:v>0.11549</c:v>
                </c:pt>
                <c:pt idx="576">
                  <c:v>0.11535999999999999</c:v>
                </c:pt>
                <c:pt idx="577">
                  <c:v>0.11562</c:v>
                </c:pt>
                <c:pt idx="578">
                  <c:v>0.11558</c:v>
                </c:pt>
                <c:pt idx="579">
                  <c:v>0.11559</c:v>
                </c:pt>
                <c:pt idx="580">
                  <c:v>0.1153</c:v>
                </c:pt>
                <c:pt idx="581">
                  <c:v>0.11515</c:v>
                </c:pt>
                <c:pt idx="582">
                  <c:v>0.11462</c:v>
                </c:pt>
                <c:pt idx="583">
                  <c:v>0.11323</c:v>
                </c:pt>
                <c:pt idx="584">
                  <c:v>0.11106999999999999</c:v>
                </c:pt>
                <c:pt idx="585">
                  <c:v>0.11071999999999999</c:v>
                </c:pt>
                <c:pt idx="586">
                  <c:v>0.11064</c:v>
                </c:pt>
                <c:pt idx="587">
                  <c:v>0.11093</c:v>
                </c:pt>
                <c:pt idx="588">
                  <c:v>0.11127000000000001</c:v>
                </c:pt>
                <c:pt idx="589">
                  <c:v>0.11143</c:v>
                </c:pt>
                <c:pt idx="590">
                  <c:v>0.11131000000000001</c:v>
                </c:pt>
                <c:pt idx="591">
                  <c:v>0.11187</c:v>
                </c:pt>
                <c:pt idx="592">
                  <c:v>0.11305999999999999</c:v>
                </c:pt>
                <c:pt idx="593">
                  <c:v>0.11282</c:v>
                </c:pt>
                <c:pt idx="594">
                  <c:v>0.11272</c:v>
                </c:pt>
                <c:pt idx="595">
                  <c:v>0.11283</c:v>
                </c:pt>
                <c:pt idx="596">
                  <c:v>0.11432</c:v>
                </c:pt>
                <c:pt idx="597">
                  <c:v>0.11439000000000001</c:v>
                </c:pt>
                <c:pt idx="598">
                  <c:v>0.11430999999999999</c:v>
                </c:pt>
                <c:pt idx="599">
                  <c:v>0.11379</c:v>
                </c:pt>
                <c:pt idx="600">
                  <c:v>0.11192000000000001</c:v>
                </c:pt>
                <c:pt idx="601">
                  <c:v>0.10859000000000001</c:v>
                </c:pt>
                <c:pt idx="602">
                  <c:v>0.10816000000000001</c:v>
                </c:pt>
                <c:pt idx="603">
                  <c:v>0.10984999999999999</c:v>
                </c:pt>
                <c:pt idx="604">
                  <c:v>0.11083999999999999</c:v>
                </c:pt>
                <c:pt idx="605">
                  <c:v>0.11391</c:v>
                </c:pt>
                <c:pt idx="606">
                  <c:v>0.11526</c:v>
                </c:pt>
                <c:pt idx="607">
                  <c:v>0.1143</c:v>
                </c:pt>
                <c:pt idx="608">
                  <c:v>0.11523</c:v>
                </c:pt>
                <c:pt idx="609">
                  <c:v>0.11778000000000001</c:v>
                </c:pt>
                <c:pt idx="610">
                  <c:v>0.11750999999999999</c:v>
                </c:pt>
                <c:pt idx="611">
                  <c:v>0.11462</c:v>
                </c:pt>
                <c:pt idx="612">
                  <c:v>0.11064</c:v>
                </c:pt>
                <c:pt idx="613">
                  <c:v>0.11103</c:v>
                </c:pt>
                <c:pt idx="614">
                  <c:v>0.11471999999999999</c:v>
                </c:pt>
                <c:pt idx="615">
                  <c:v>0.11637</c:v>
                </c:pt>
                <c:pt idx="616">
                  <c:v>0.11642</c:v>
                </c:pt>
                <c:pt idx="617">
                  <c:v>0.11503999999999999</c:v>
                </c:pt>
                <c:pt idx="618">
                  <c:v>0.11588</c:v>
                </c:pt>
                <c:pt idx="619">
                  <c:v>0.11570999999999999</c:v>
                </c:pt>
                <c:pt idx="620">
                  <c:v>0.11606999999999999</c:v>
                </c:pt>
                <c:pt idx="621">
                  <c:v>0.11648</c:v>
                </c:pt>
                <c:pt idx="622">
                  <c:v>0.11742000000000001</c:v>
                </c:pt>
                <c:pt idx="623">
                  <c:v>0.11837999999999999</c:v>
                </c:pt>
                <c:pt idx="624">
                  <c:v>0.11795</c:v>
                </c:pt>
                <c:pt idx="625">
                  <c:v>0.11985</c:v>
                </c:pt>
                <c:pt idx="626">
                  <c:v>0.12082000000000001</c:v>
                </c:pt>
                <c:pt idx="627">
                  <c:v>0.12118000000000001</c:v>
                </c:pt>
                <c:pt idx="628">
                  <c:v>0.12166</c:v>
                </c:pt>
                <c:pt idx="629">
                  <c:v>0.12023999999999999</c:v>
                </c:pt>
                <c:pt idx="630">
                  <c:v>0.11765</c:v>
                </c:pt>
                <c:pt idx="631">
                  <c:v>0.1182</c:v>
                </c:pt>
                <c:pt idx="632">
                  <c:v>0.11840000000000001</c:v>
                </c:pt>
                <c:pt idx="633">
                  <c:v>0.11731</c:v>
                </c:pt>
                <c:pt idx="634">
                  <c:v>0.11550000000000001</c:v>
                </c:pt>
                <c:pt idx="635">
                  <c:v>0.11521000000000001</c:v>
                </c:pt>
                <c:pt idx="636">
                  <c:v>0.11555</c:v>
                </c:pt>
                <c:pt idx="637">
                  <c:v>0.11582000000000001</c:v>
                </c:pt>
                <c:pt idx="638">
                  <c:v>0.11519</c:v>
                </c:pt>
                <c:pt idx="639">
                  <c:v>0.11608</c:v>
                </c:pt>
                <c:pt idx="640">
                  <c:v>0.11364</c:v>
                </c:pt>
                <c:pt idx="641">
                  <c:v>0.11233</c:v>
                </c:pt>
                <c:pt idx="642">
                  <c:v>0.11194000000000001</c:v>
                </c:pt>
                <c:pt idx="643">
                  <c:v>0.11209</c:v>
                </c:pt>
                <c:pt idx="644">
                  <c:v>0.11125</c:v>
                </c:pt>
                <c:pt idx="645">
                  <c:v>0.11028</c:v>
                </c:pt>
                <c:pt idx="646">
                  <c:v>0.11156000000000001</c:v>
                </c:pt>
                <c:pt idx="647">
                  <c:v>0.11291999999999999</c:v>
                </c:pt>
                <c:pt idx="648">
                  <c:v>0.11374000000000001</c:v>
                </c:pt>
                <c:pt idx="649">
                  <c:v>0.11359999999999999</c:v>
                </c:pt>
                <c:pt idx="650">
                  <c:v>0.11666</c:v>
                </c:pt>
                <c:pt idx="651">
                  <c:v>0.11588</c:v>
                </c:pt>
                <c:pt idx="652">
                  <c:v>0.11692</c:v>
                </c:pt>
                <c:pt idx="653">
                  <c:v>0.11824999999999999</c:v>
                </c:pt>
                <c:pt idx="654">
                  <c:v>0.11884</c:v>
                </c:pt>
                <c:pt idx="655">
                  <c:v>0.11914999999999999</c:v>
                </c:pt>
                <c:pt idx="656">
                  <c:v>0.11877</c:v>
                </c:pt>
                <c:pt idx="657">
                  <c:v>0.12013</c:v>
                </c:pt>
                <c:pt idx="658">
                  <c:v>0.12237000000000001</c:v>
                </c:pt>
                <c:pt idx="659">
                  <c:v>0.12229</c:v>
                </c:pt>
                <c:pt idx="660">
                  <c:v>0.12286</c:v>
                </c:pt>
                <c:pt idx="661">
                  <c:v>0.12318</c:v>
                </c:pt>
                <c:pt idx="662">
                  <c:v>0.12082000000000001</c:v>
                </c:pt>
                <c:pt idx="663">
                  <c:v>0.11858</c:v>
                </c:pt>
                <c:pt idx="664">
                  <c:v>0.11967</c:v>
                </c:pt>
                <c:pt idx="665">
                  <c:v>0.11887</c:v>
                </c:pt>
                <c:pt idx="666">
                  <c:v>0.11914</c:v>
                </c:pt>
                <c:pt idx="667">
                  <c:v>0.11900000000000001</c:v>
                </c:pt>
                <c:pt idx="668">
                  <c:v>0.11925000000000001</c:v>
                </c:pt>
                <c:pt idx="669">
                  <c:v>0.11967</c:v>
                </c:pt>
                <c:pt idx="670">
                  <c:v>0.11935999999999999</c:v>
                </c:pt>
                <c:pt idx="671">
                  <c:v>0.11914999999999999</c:v>
                </c:pt>
                <c:pt idx="672">
                  <c:v>0.11831</c:v>
                </c:pt>
                <c:pt idx="673">
                  <c:v>0.11882999999999999</c:v>
                </c:pt>
                <c:pt idx="674">
                  <c:v>0.11907</c:v>
                </c:pt>
                <c:pt idx="675">
                  <c:v>0.11942999999999999</c:v>
                </c:pt>
                <c:pt idx="676">
                  <c:v>0.11985</c:v>
                </c:pt>
                <c:pt idx="677">
                  <c:v>0.12019000000000001</c:v>
                </c:pt>
                <c:pt idx="678">
                  <c:v>0.11945</c:v>
                </c:pt>
                <c:pt idx="679">
                  <c:v>0.11569000000000002</c:v>
                </c:pt>
                <c:pt idx="680">
                  <c:v>0.11335000000000001</c:v>
                </c:pt>
                <c:pt idx="681">
                  <c:v>0.11487</c:v>
                </c:pt>
              </c:numCache>
            </c:numRef>
          </c:val>
          <c:smooth val="0"/>
          <c:extLst>
            <c:ext xmlns:c16="http://schemas.microsoft.com/office/drawing/2014/chart" uri="{C3380CC4-5D6E-409C-BE32-E72D297353CC}">
              <c16:uniqueId val="{00000000-A38F-BE4F-B073-723EF340B08F}"/>
            </c:ext>
          </c:extLst>
        </c:ser>
        <c:dLbls>
          <c:showLegendKey val="0"/>
          <c:showVal val="0"/>
          <c:showCatName val="0"/>
          <c:showSerName val="0"/>
          <c:showPercent val="0"/>
          <c:showBubbleSize val="0"/>
        </c:dLbls>
        <c:smooth val="0"/>
        <c:axId val="671106736"/>
        <c:axId val="671108416"/>
      </c:lineChart>
      <c:dateAx>
        <c:axId val="671106736"/>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8416"/>
        <c:crosses val="autoZero"/>
        <c:auto val="1"/>
        <c:lblOffset val="100"/>
        <c:baseTimeUnit val="days"/>
        <c:majorUnit val="3"/>
        <c:majorTimeUnit val="months"/>
      </c:dateAx>
      <c:valAx>
        <c:axId val="671108416"/>
        <c:scaling>
          <c:orientation val="minMax"/>
          <c:max val="0.23"/>
          <c:min val="0.05"/>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6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YPF 9 29</c:v>
                </c:pt>
              </c:strCache>
            </c:strRef>
          </c:tx>
          <c:spPr>
            <a:ln w="28575" cap="rnd">
              <a:solidFill>
                <a:schemeClr val="accent1"/>
              </a:solidFill>
              <a:round/>
            </a:ln>
            <a:effectLst/>
          </c:spPr>
          <c:marker>
            <c:symbol val="none"/>
          </c:marker>
          <c:cat>
            <c:numRef>
              <c:f>Hoja1!$A$2:$A$683</c:f>
              <c:numCache>
                <c:formatCode>m/d/yy</c:formatCode>
                <c:ptCount val="682"/>
                <c:pt idx="0">
                  <c:v>44243</c:v>
                </c:pt>
                <c:pt idx="1">
                  <c:v>44244</c:v>
                </c:pt>
                <c:pt idx="2">
                  <c:v>44245</c:v>
                </c:pt>
                <c:pt idx="3">
                  <c:v>44246</c:v>
                </c:pt>
                <c:pt idx="4">
                  <c:v>44249</c:v>
                </c:pt>
                <c:pt idx="5">
                  <c:v>44250</c:v>
                </c:pt>
                <c:pt idx="6">
                  <c:v>44251</c:v>
                </c:pt>
                <c:pt idx="7">
                  <c:v>44252</c:v>
                </c:pt>
                <c:pt idx="8">
                  <c:v>44253</c:v>
                </c:pt>
                <c:pt idx="9">
                  <c:v>44256</c:v>
                </c:pt>
                <c:pt idx="10">
                  <c:v>44257</c:v>
                </c:pt>
                <c:pt idx="11">
                  <c:v>44258</c:v>
                </c:pt>
                <c:pt idx="12">
                  <c:v>44259</c:v>
                </c:pt>
                <c:pt idx="13">
                  <c:v>44260</c:v>
                </c:pt>
                <c:pt idx="14">
                  <c:v>44263</c:v>
                </c:pt>
                <c:pt idx="15">
                  <c:v>44264</c:v>
                </c:pt>
                <c:pt idx="16">
                  <c:v>44265</c:v>
                </c:pt>
                <c:pt idx="17">
                  <c:v>44266</c:v>
                </c:pt>
                <c:pt idx="18">
                  <c:v>44267</c:v>
                </c:pt>
                <c:pt idx="19">
                  <c:v>44270</c:v>
                </c:pt>
                <c:pt idx="20">
                  <c:v>44271</c:v>
                </c:pt>
                <c:pt idx="21">
                  <c:v>44272</c:v>
                </c:pt>
                <c:pt idx="22">
                  <c:v>44273</c:v>
                </c:pt>
                <c:pt idx="23">
                  <c:v>44274</c:v>
                </c:pt>
                <c:pt idx="24">
                  <c:v>44277</c:v>
                </c:pt>
                <c:pt idx="25">
                  <c:v>44278</c:v>
                </c:pt>
                <c:pt idx="26">
                  <c:v>44279</c:v>
                </c:pt>
                <c:pt idx="27">
                  <c:v>44280</c:v>
                </c:pt>
                <c:pt idx="28">
                  <c:v>44281</c:v>
                </c:pt>
                <c:pt idx="29">
                  <c:v>44284</c:v>
                </c:pt>
                <c:pt idx="30">
                  <c:v>44285</c:v>
                </c:pt>
                <c:pt idx="31">
                  <c:v>44286</c:v>
                </c:pt>
                <c:pt idx="32">
                  <c:v>44287</c:v>
                </c:pt>
                <c:pt idx="33">
                  <c:v>44291</c:v>
                </c:pt>
                <c:pt idx="34">
                  <c:v>44292</c:v>
                </c:pt>
                <c:pt idx="35">
                  <c:v>44293</c:v>
                </c:pt>
                <c:pt idx="36">
                  <c:v>44294</c:v>
                </c:pt>
                <c:pt idx="37">
                  <c:v>44295</c:v>
                </c:pt>
                <c:pt idx="38">
                  <c:v>44298</c:v>
                </c:pt>
                <c:pt idx="39">
                  <c:v>44299</c:v>
                </c:pt>
                <c:pt idx="40">
                  <c:v>44300</c:v>
                </c:pt>
                <c:pt idx="41">
                  <c:v>44301</c:v>
                </c:pt>
                <c:pt idx="42">
                  <c:v>44302</c:v>
                </c:pt>
                <c:pt idx="43">
                  <c:v>44305</c:v>
                </c:pt>
                <c:pt idx="44">
                  <c:v>44306</c:v>
                </c:pt>
                <c:pt idx="45">
                  <c:v>44307</c:v>
                </c:pt>
                <c:pt idx="46">
                  <c:v>44308</c:v>
                </c:pt>
                <c:pt idx="47">
                  <c:v>44309</c:v>
                </c:pt>
                <c:pt idx="48">
                  <c:v>44312</c:v>
                </c:pt>
                <c:pt idx="49">
                  <c:v>44313</c:v>
                </c:pt>
                <c:pt idx="50">
                  <c:v>44314</c:v>
                </c:pt>
                <c:pt idx="51">
                  <c:v>44315</c:v>
                </c:pt>
                <c:pt idx="52">
                  <c:v>44316</c:v>
                </c:pt>
                <c:pt idx="53">
                  <c:v>44319</c:v>
                </c:pt>
                <c:pt idx="54">
                  <c:v>44320</c:v>
                </c:pt>
                <c:pt idx="55">
                  <c:v>44321</c:v>
                </c:pt>
                <c:pt idx="56">
                  <c:v>44322</c:v>
                </c:pt>
                <c:pt idx="57">
                  <c:v>44323</c:v>
                </c:pt>
                <c:pt idx="58">
                  <c:v>44326</c:v>
                </c:pt>
                <c:pt idx="59">
                  <c:v>44327</c:v>
                </c:pt>
                <c:pt idx="60">
                  <c:v>44328</c:v>
                </c:pt>
                <c:pt idx="61">
                  <c:v>44329</c:v>
                </c:pt>
                <c:pt idx="62">
                  <c:v>44330</c:v>
                </c:pt>
                <c:pt idx="63">
                  <c:v>44333</c:v>
                </c:pt>
                <c:pt idx="64">
                  <c:v>44334</c:v>
                </c:pt>
                <c:pt idx="65">
                  <c:v>44335</c:v>
                </c:pt>
                <c:pt idx="66">
                  <c:v>44336</c:v>
                </c:pt>
                <c:pt idx="67">
                  <c:v>44337</c:v>
                </c:pt>
                <c:pt idx="68">
                  <c:v>44340</c:v>
                </c:pt>
                <c:pt idx="69">
                  <c:v>44341</c:v>
                </c:pt>
                <c:pt idx="70">
                  <c:v>44342</c:v>
                </c:pt>
                <c:pt idx="71">
                  <c:v>44343</c:v>
                </c:pt>
                <c:pt idx="72">
                  <c:v>44344</c:v>
                </c:pt>
                <c:pt idx="73">
                  <c:v>44348</c:v>
                </c:pt>
                <c:pt idx="74">
                  <c:v>44349</c:v>
                </c:pt>
                <c:pt idx="75">
                  <c:v>44350</c:v>
                </c:pt>
                <c:pt idx="76">
                  <c:v>44351</c:v>
                </c:pt>
                <c:pt idx="77">
                  <c:v>44354</c:v>
                </c:pt>
                <c:pt idx="78">
                  <c:v>44355</c:v>
                </c:pt>
                <c:pt idx="79">
                  <c:v>44356</c:v>
                </c:pt>
                <c:pt idx="80">
                  <c:v>44357</c:v>
                </c:pt>
                <c:pt idx="81">
                  <c:v>44358</c:v>
                </c:pt>
                <c:pt idx="82">
                  <c:v>44361</c:v>
                </c:pt>
                <c:pt idx="83">
                  <c:v>44362</c:v>
                </c:pt>
                <c:pt idx="84">
                  <c:v>44363</c:v>
                </c:pt>
                <c:pt idx="85">
                  <c:v>44364</c:v>
                </c:pt>
                <c:pt idx="86">
                  <c:v>44365</c:v>
                </c:pt>
                <c:pt idx="87">
                  <c:v>44368</c:v>
                </c:pt>
                <c:pt idx="88">
                  <c:v>44369</c:v>
                </c:pt>
                <c:pt idx="89">
                  <c:v>44370</c:v>
                </c:pt>
                <c:pt idx="90">
                  <c:v>44371</c:v>
                </c:pt>
                <c:pt idx="91">
                  <c:v>44372</c:v>
                </c:pt>
                <c:pt idx="92">
                  <c:v>44375</c:v>
                </c:pt>
                <c:pt idx="93">
                  <c:v>44376</c:v>
                </c:pt>
                <c:pt idx="94">
                  <c:v>44377</c:v>
                </c:pt>
                <c:pt idx="95">
                  <c:v>44378</c:v>
                </c:pt>
                <c:pt idx="96">
                  <c:v>44379</c:v>
                </c:pt>
                <c:pt idx="97">
                  <c:v>44383</c:v>
                </c:pt>
                <c:pt idx="98">
                  <c:v>44384</c:v>
                </c:pt>
                <c:pt idx="99">
                  <c:v>44385</c:v>
                </c:pt>
                <c:pt idx="100">
                  <c:v>44386</c:v>
                </c:pt>
                <c:pt idx="101">
                  <c:v>44389</c:v>
                </c:pt>
                <c:pt idx="102">
                  <c:v>44390</c:v>
                </c:pt>
                <c:pt idx="103">
                  <c:v>44391</c:v>
                </c:pt>
                <c:pt idx="104">
                  <c:v>44392</c:v>
                </c:pt>
                <c:pt idx="105">
                  <c:v>44393</c:v>
                </c:pt>
                <c:pt idx="106">
                  <c:v>44396</c:v>
                </c:pt>
                <c:pt idx="107">
                  <c:v>44397</c:v>
                </c:pt>
                <c:pt idx="108">
                  <c:v>44398</c:v>
                </c:pt>
                <c:pt idx="109">
                  <c:v>44399</c:v>
                </c:pt>
                <c:pt idx="110">
                  <c:v>44400</c:v>
                </c:pt>
                <c:pt idx="111">
                  <c:v>44403</c:v>
                </c:pt>
                <c:pt idx="112">
                  <c:v>44404</c:v>
                </c:pt>
                <c:pt idx="113">
                  <c:v>44405</c:v>
                </c:pt>
                <c:pt idx="114">
                  <c:v>44406</c:v>
                </c:pt>
                <c:pt idx="115">
                  <c:v>44407</c:v>
                </c:pt>
                <c:pt idx="116">
                  <c:v>44410</c:v>
                </c:pt>
                <c:pt idx="117">
                  <c:v>44411</c:v>
                </c:pt>
                <c:pt idx="118">
                  <c:v>44412</c:v>
                </c:pt>
                <c:pt idx="119">
                  <c:v>44413</c:v>
                </c:pt>
                <c:pt idx="120">
                  <c:v>44414</c:v>
                </c:pt>
                <c:pt idx="121">
                  <c:v>44417</c:v>
                </c:pt>
                <c:pt idx="122">
                  <c:v>44418</c:v>
                </c:pt>
                <c:pt idx="123">
                  <c:v>44419</c:v>
                </c:pt>
                <c:pt idx="124">
                  <c:v>44420</c:v>
                </c:pt>
                <c:pt idx="125">
                  <c:v>44421</c:v>
                </c:pt>
                <c:pt idx="126">
                  <c:v>44424</c:v>
                </c:pt>
                <c:pt idx="127">
                  <c:v>44425</c:v>
                </c:pt>
                <c:pt idx="128">
                  <c:v>44426</c:v>
                </c:pt>
                <c:pt idx="129">
                  <c:v>44427</c:v>
                </c:pt>
                <c:pt idx="130">
                  <c:v>44428</c:v>
                </c:pt>
                <c:pt idx="131">
                  <c:v>44431</c:v>
                </c:pt>
                <c:pt idx="132">
                  <c:v>44432</c:v>
                </c:pt>
                <c:pt idx="133">
                  <c:v>44433</c:v>
                </c:pt>
                <c:pt idx="134">
                  <c:v>44434</c:v>
                </c:pt>
                <c:pt idx="135">
                  <c:v>44435</c:v>
                </c:pt>
                <c:pt idx="136">
                  <c:v>44438</c:v>
                </c:pt>
                <c:pt idx="137">
                  <c:v>44439</c:v>
                </c:pt>
                <c:pt idx="138">
                  <c:v>44440</c:v>
                </c:pt>
                <c:pt idx="139">
                  <c:v>44441</c:v>
                </c:pt>
                <c:pt idx="140">
                  <c:v>44442</c:v>
                </c:pt>
                <c:pt idx="141">
                  <c:v>44446</c:v>
                </c:pt>
                <c:pt idx="142">
                  <c:v>44447</c:v>
                </c:pt>
                <c:pt idx="143">
                  <c:v>44448</c:v>
                </c:pt>
                <c:pt idx="144">
                  <c:v>44449</c:v>
                </c:pt>
                <c:pt idx="145">
                  <c:v>44452</c:v>
                </c:pt>
                <c:pt idx="146">
                  <c:v>44453</c:v>
                </c:pt>
                <c:pt idx="147">
                  <c:v>44454</c:v>
                </c:pt>
                <c:pt idx="148">
                  <c:v>44455</c:v>
                </c:pt>
                <c:pt idx="149">
                  <c:v>44456</c:v>
                </c:pt>
                <c:pt idx="150">
                  <c:v>44459</c:v>
                </c:pt>
                <c:pt idx="151">
                  <c:v>44460</c:v>
                </c:pt>
                <c:pt idx="152">
                  <c:v>44461</c:v>
                </c:pt>
                <c:pt idx="153">
                  <c:v>44462</c:v>
                </c:pt>
                <c:pt idx="154">
                  <c:v>44463</c:v>
                </c:pt>
                <c:pt idx="155">
                  <c:v>44466</c:v>
                </c:pt>
                <c:pt idx="156">
                  <c:v>44467</c:v>
                </c:pt>
                <c:pt idx="157">
                  <c:v>44468</c:v>
                </c:pt>
                <c:pt idx="158">
                  <c:v>44469</c:v>
                </c:pt>
                <c:pt idx="159">
                  <c:v>44470</c:v>
                </c:pt>
                <c:pt idx="160">
                  <c:v>44473</c:v>
                </c:pt>
                <c:pt idx="161">
                  <c:v>44474</c:v>
                </c:pt>
                <c:pt idx="162">
                  <c:v>44475</c:v>
                </c:pt>
                <c:pt idx="163">
                  <c:v>44476</c:v>
                </c:pt>
                <c:pt idx="164">
                  <c:v>44477</c:v>
                </c:pt>
                <c:pt idx="165">
                  <c:v>44481</c:v>
                </c:pt>
                <c:pt idx="166">
                  <c:v>44482</c:v>
                </c:pt>
                <c:pt idx="167">
                  <c:v>44483</c:v>
                </c:pt>
                <c:pt idx="168">
                  <c:v>44484</c:v>
                </c:pt>
                <c:pt idx="169">
                  <c:v>44487</c:v>
                </c:pt>
                <c:pt idx="170">
                  <c:v>44488</c:v>
                </c:pt>
                <c:pt idx="171">
                  <c:v>44489</c:v>
                </c:pt>
                <c:pt idx="172">
                  <c:v>44490</c:v>
                </c:pt>
                <c:pt idx="173">
                  <c:v>44491</c:v>
                </c:pt>
                <c:pt idx="174">
                  <c:v>44494</c:v>
                </c:pt>
                <c:pt idx="175">
                  <c:v>44495</c:v>
                </c:pt>
                <c:pt idx="176">
                  <c:v>44496</c:v>
                </c:pt>
                <c:pt idx="177">
                  <c:v>44497</c:v>
                </c:pt>
                <c:pt idx="178">
                  <c:v>44498</c:v>
                </c:pt>
                <c:pt idx="179">
                  <c:v>44501</c:v>
                </c:pt>
                <c:pt idx="180">
                  <c:v>44502</c:v>
                </c:pt>
                <c:pt idx="181">
                  <c:v>44503</c:v>
                </c:pt>
                <c:pt idx="182">
                  <c:v>44504</c:v>
                </c:pt>
                <c:pt idx="183">
                  <c:v>44505</c:v>
                </c:pt>
                <c:pt idx="184">
                  <c:v>44508</c:v>
                </c:pt>
                <c:pt idx="185">
                  <c:v>44509</c:v>
                </c:pt>
                <c:pt idx="186">
                  <c:v>44510</c:v>
                </c:pt>
                <c:pt idx="187">
                  <c:v>44512</c:v>
                </c:pt>
                <c:pt idx="188">
                  <c:v>44515</c:v>
                </c:pt>
                <c:pt idx="189">
                  <c:v>44516</c:v>
                </c:pt>
                <c:pt idx="190">
                  <c:v>44517</c:v>
                </c:pt>
                <c:pt idx="191">
                  <c:v>44518</c:v>
                </c:pt>
                <c:pt idx="192">
                  <c:v>44519</c:v>
                </c:pt>
                <c:pt idx="193">
                  <c:v>44522</c:v>
                </c:pt>
                <c:pt idx="194">
                  <c:v>44523</c:v>
                </c:pt>
                <c:pt idx="195">
                  <c:v>44524</c:v>
                </c:pt>
                <c:pt idx="196">
                  <c:v>44526</c:v>
                </c:pt>
                <c:pt idx="197">
                  <c:v>44529</c:v>
                </c:pt>
                <c:pt idx="198">
                  <c:v>44530</c:v>
                </c:pt>
                <c:pt idx="199">
                  <c:v>44531</c:v>
                </c:pt>
                <c:pt idx="200">
                  <c:v>44532</c:v>
                </c:pt>
                <c:pt idx="201">
                  <c:v>44533</c:v>
                </c:pt>
                <c:pt idx="202">
                  <c:v>44536</c:v>
                </c:pt>
                <c:pt idx="203">
                  <c:v>44537</c:v>
                </c:pt>
                <c:pt idx="204">
                  <c:v>44538</c:v>
                </c:pt>
                <c:pt idx="205">
                  <c:v>44539</c:v>
                </c:pt>
                <c:pt idx="206">
                  <c:v>44540</c:v>
                </c:pt>
                <c:pt idx="207">
                  <c:v>44543</c:v>
                </c:pt>
                <c:pt idx="208">
                  <c:v>44544</c:v>
                </c:pt>
                <c:pt idx="209">
                  <c:v>44545</c:v>
                </c:pt>
                <c:pt idx="210">
                  <c:v>44546</c:v>
                </c:pt>
                <c:pt idx="211">
                  <c:v>44547</c:v>
                </c:pt>
                <c:pt idx="212">
                  <c:v>44550</c:v>
                </c:pt>
                <c:pt idx="213">
                  <c:v>44551</c:v>
                </c:pt>
                <c:pt idx="214">
                  <c:v>44552</c:v>
                </c:pt>
                <c:pt idx="215">
                  <c:v>44553</c:v>
                </c:pt>
                <c:pt idx="216">
                  <c:v>44557</c:v>
                </c:pt>
                <c:pt idx="217">
                  <c:v>44558</c:v>
                </c:pt>
                <c:pt idx="218">
                  <c:v>44559</c:v>
                </c:pt>
                <c:pt idx="219">
                  <c:v>44560</c:v>
                </c:pt>
                <c:pt idx="220">
                  <c:v>44561</c:v>
                </c:pt>
                <c:pt idx="221">
                  <c:v>44564</c:v>
                </c:pt>
                <c:pt idx="222">
                  <c:v>44565</c:v>
                </c:pt>
                <c:pt idx="223">
                  <c:v>44566</c:v>
                </c:pt>
                <c:pt idx="224">
                  <c:v>44567</c:v>
                </c:pt>
                <c:pt idx="225">
                  <c:v>44568</c:v>
                </c:pt>
                <c:pt idx="226">
                  <c:v>44571</c:v>
                </c:pt>
                <c:pt idx="227">
                  <c:v>44572</c:v>
                </c:pt>
                <c:pt idx="228">
                  <c:v>44573</c:v>
                </c:pt>
                <c:pt idx="229">
                  <c:v>44574</c:v>
                </c:pt>
                <c:pt idx="230">
                  <c:v>44575</c:v>
                </c:pt>
                <c:pt idx="231">
                  <c:v>44579</c:v>
                </c:pt>
                <c:pt idx="232">
                  <c:v>44580</c:v>
                </c:pt>
                <c:pt idx="233">
                  <c:v>44581</c:v>
                </c:pt>
                <c:pt idx="234">
                  <c:v>44582</c:v>
                </c:pt>
                <c:pt idx="235">
                  <c:v>44585</c:v>
                </c:pt>
                <c:pt idx="236">
                  <c:v>44586</c:v>
                </c:pt>
                <c:pt idx="237">
                  <c:v>44587</c:v>
                </c:pt>
                <c:pt idx="238">
                  <c:v>44588</c:v>
                </c:pt>
                <c:pt idx="239">
                  <c:v>44589</c:v>
                </c:pt>
                <c:pt idx="240">
                  <c:v>44592</c:v>
                </c:pt>
                <c:pt idx="241">
                  <c:v>44593</c:v>
                </c:pt>
                <c:pt idx="242">
                  <c:v>44594</c:v>
                </c:pt>
                <c:pt idx="243">
                  <c:v>44595</c:v>
                </c:pt>
                <c:pt idx="244">
                  <c:v>44596</c:v>
                </c:pt>
                <c:pt idx="245">
                  <c:v>44599</c:v>
                </c:pt>
                <c:pt idx="246">
                  <c:v>44600</c:v>
                </c:pt>
                <c:pt idx="247">
                  <c:v>44601</c:v>
                </c:pt>
                <c:pt idx="248">
                  <c:v>44602</c:v>
                </c:pt>
                <c:pt idx="249">
                  <c:v>44603</c:v>
                </c:pt>
                <c:pt idx="250">
                  <c:v>44606</c:v>
                </c:pt>
                <c:pt idx="251">
                  <c:v>44607</c:v>
                </c:pt>
                <c:pt idx="252">
                  <c:v>44608</c:v>
                </c:pt>
                <c:pt idx="253">
                  <c:v>44609</c:v>
                </c:pt>
                <c:pt idx="254">
                  <c:v>44610</c:v>
                </c:pt>
                <c:pt idx="255">
                  <c:v>44614</c:v>
                </c:pt>
                <c:pt idx="256">
                  <c:v>44615</c:v>
                </c:pt>
                <c:pt idx="257">
                  <c:v>44616</c:v>
                </c:pt>
                <c:pt idx="258">
                  <c:v>44617</c:v>
                </c:pt>
                <c:pt idx="259">
                  <c:v>44620</c:v>
                </c:pt>
                <c:pt idx="260">
                  <c:v>44621</c:v>
                </c:pt>
                <c:pt idx="261">
                  <c:v>44622</c:v>
                </c:pt>
                <c:pt idx="262">
                  <c:v>44623</c:v>
                </c:pt>
                <c:pt idx="263">
                  <c:v>44624</c:v>
                </c:pt>
                <c:pt idx="264">
                  <c:v>44627</c:v>
                </c:pt>
                <c:pt idx="265">
                  <c:v>44628</c:v>
                </c:pt>
                <c:pt idx="266">
                  <c:v>44629</c:v>
                </c:pt>
                <c:pt idx="267">
                  <c:v>44630</c:v>
                </c:pt>
                <c:pt idx="268">
                  <c:v>44631</c:v>
                </c:pt>
                <c:pt idx="269">
                  <c:v>44634</c:v>
                </c:pt>
                <c:pt idx="270">
                  <c:v>44635</c:v>
                </c:pt>
                <c:pt idx="271">
                  <c:v>44636</c:v>
                </c:pt>
                <c:pt idx="272">
                  <c:v>44637</c:v>
                </c:pt>
                <c:pt idx="273">
                  <c:v>44638</c:v>
                </c:pt>
                <c:pt idx="274">
                  <c:v>44641</c:v>
                </c:pt>
                <c:pt idx="275">
                  <c:v>44642</c:v>
                </c:pt>
                <c:pt idx="276">
                  <c:v>44643</c:v>
                </c:pt>
                <c:pt idx="277">
                  <c:v>44644</c:v>
                </c:pt>
                <c:pt idx="278">
                  <c:v>44645</c:v>
                </c:pt>
                <c:pt idx="279">
                  <c:v>44648</c:v>
                </c:pt>
                <c:pt idx="280">
                  <c:v>44649</c:v>
                </c:pt>
                <c:pt idx="281">
                  <c:v>44650</c:v>
                </c:pt>
                <c:pt idx="282">
                  <c:v>44651</c:v>
                </c:pt>
                <c:pt idx="283">
                  <c:v>44652</c:v>
                </c:pt>
                <c:pt idx="284">
                  <c:v>44655</c:v>
                </c:pt>
                <c:pt idx="285">
                  <c:v>44656</c:v>
                </c:pt>
                <c:pt idx="286">
                  <c:v>44657</c:v>
                </c:pt>
                <c:pt idx="287">
                  <c:v>44658</c:v>
                </c:pt>
                <c:pt idx="288">
                  <c:v>44659</c:v>
                </c:pt>
                <c:pt idx="289">
                  <c:v>44662</c:v>
                </c:pt>
                <c:pt idx="290">
                  <c:v>44663</c:v>
                </c:pt>
                <c:pt idx="291">
                  <c:v>44664</c:v>
                </c:pt>
                <c:pt idx="292">
                  <c:v>44665</c:v>
                </c:pt>
                <c:pt idx="293">
                  <c:v>44669</c:v>
                </c:pt>
                <c:pt idx="294">
                  <c:v>44670</c:v>
                </c:pt>
                <c:pt idx="295">
                  <c:v>44671</c:v>
                </c:pt>
                <c:pt idx="296">
                  <c:v>44672</c:v>
                </c:pt>
                <c:pt idx="297">
                  <c:v>44673</c:v>
                </c:pt>
                <c:pt idx="298">
                  <c:v>44676</c:v>
                </c:pt>
                <c:pt idx="299">
                  <c:v>44677</c:v>
                </c:pt>
                <c:pt idx="300">
                  <c:v>44678</c:v>
                </c:pt>
                <c:pt idx="301">
                  <c:v>44679</c:v>
                </c:pt>
                <c:pt idx="302">
                  <c:v>44680</c:v>
                </c:pt>
                <c:pt idx="303">
                  <c:v>44683</c:v>
                </c:pt>
                <c:pt idx="304">
                  <c:v>44684</c:v>
                </c:pt>
                <c:pt idx="305">
                  <c:v>44685</c:v>
                </c:pt>
                <c:pt idx="306">
                  <c:v>44686</c:v>
                </c:pt>
                <c:pt idx="307">
                  <c:v>44687</c:v>
                </c:pt>
                <c:pt idx="308">
                  <c:v>44690</c:v>
                </c:pt>
                <c:pt idx="309">
                  <c:v>44691</c:v>
                </c:pt>
                <c:pt idx="310">
                  <c:v>44692</c:v>
                </c:pt>
                <c:pt idx="311">
                  <c:v>44693</c:v>
                </c:pt>
                <c:pt idx="312">
                  <c:v>44694</c:v>
                </c:pt>
                <c:pt idx="313">
                  <c:v>44697</c:v>
                </c:pt>
                <c:pt idx="314">
                  <c:v>44698</c:v>
                </c:pt>
                <c:pt idx="315">
                  <c:v>44699</c:v>
                </c:pt>
                <c:pt idx="316">
                  <c:v>44700</c:v>
                </c:pt>
                <c:pt idx="317">
                  <c:v>44701</c:v>
                </c:pt>
                <c:pt idx="318">
                  <c:v>44704</c:v>
                </c:pt>
                <c:pt idx="319">
                  <c:v>44705</c:v>
                </c:pt>
                <c:pt idx="320">
                  <c:v>44706</c:v>
                </c:pt>
                <c:pt idx="321">
                  <c:v>44707</c:v>
                </c:pt>
                <c:pt idx="322">
                  <c:v>44708</c:v>
                </c:pt>
                <c:pt idx="323">
                  <c:v>44712</c:v>
                </c:pt>
                <c:pt idx="324">
                  <c:v>44713</c:v>
                </c:pt>
                <c:pt idx="325">
                  <c:v>44714</c:v>
                </c:pt>
                <c:pt idx="326">
                  <c:v>44715</c:v>
                </c:pt>
                <c:pt idx="327">
                  <c:v>44718</c:v>
                </c:pt>
                <c:pt idx="328">
                  <c:v>44719</c:v>
                </c:pt>
                <c:pt idx="329">
                  <c:v>44720</c:v>
                </c:pt>
                <c:pt idx="330">
                  <c:v>44721</c:v>
                </c:pt>
                <c:pt idx="331">
                  <c:v>44722</c:v>
                </c:pt>
                <c:pt idx="332">
                  <c:v>44725</c:v>
                </c:pt>
                <c:pt idx="333">
                  <c:v>44726</c:v>
                </c:pt>
                <c:pt idx="334">
                  <c:v>44727</c:v>
                </c:pt>
                <c:pt idx="335">
                  <c:v>44728</c:v>
                </c:pt>
                <c:pt idx="336">
                  <c:v>44729</c:v>
                </c:pt>
                <c:pt idx="337">
                  <c:v>44733</c:v>
                </c:pt>
                <c:pt idx="338">
                  <c:v>44734</c:v>
                </c:pt>
                <c:pt idx="339">
                  <c:v>44735</c:v>
                </c:pt>
                <c:pt idx="340">
                  <c:v>44736</c:v>
                </c:pt>
                <c:pt idx="341">
                  <c:v>44739</c:v>
                </c:pt>
                <c:pt idx="342">
                  <c:v>44740</c:v>
                </c:pt>
                <c:pt idx="343">
                  <c:v>44741</c:v>
                </c:pt>
                <c:pt idx="344">
                  <c:v>44742</c:v>
                </c:pt>
                <c:pt idx="345">
                  <c:v>44743</c:v>
                </c:pt>
                <c:pt idx="346">
                  <c:v>44747</c:v>
                </c:pt>
                <c:pt idx="347">
                  <c:v>44748</c:v>
                </c:pt>
                <c:pt idx="348">
                  <c:v>44749</c:v>
                </c:pt>
                <c:pt idx="349">
                  <c:v>44750</c:v>
                </c:pt>
                <c:pt idx="350">
                  <c:v>44753</c:v>
                </c:pt>
                <c:pt idx="351">
                  <c:v>44754</c:v>
                </c:pt>
                <c:pt idx="352">
                  <c:v>44755</c:v>
                </c:pt>
                <c:pt idx="353">
                  <c:v>44756</c:v>
                </c:pt>
                <c:pt idx="354">
                  <c:v>44757</c:v>
                </c:pt>
                <c:pt idx="355">
                  <c:v>44760</c:v>
                </c:pt>
                <c:pt idx="356">
                  <c:v>44761</c:v>
                </c:pt>
                <c:pt idx="357">
                  <c:v>44762</c:v>
                </c:pt>
                <c:pt idx="358">
                  <c:v>44763</c:v>
                </c:pt>
                <c:pt idx="359">
                  <c:v>44764</c:v>
                </c:pt>
                <c:pt idx="360">
                  <c:v>44767</c:v>
                </c:pt>
                <c:pt idx="361">
                  <c:v>44768</c:v>
                </c:pt>
                <c:pt idx="362">
                  <c:v>44769</c:v>
                </c:pt>
                <c:pt idx="363">
                  <c:v>44770</c:v>
                </c:pt>
                <c:pt idx="364">
                  <c:v>44771</c:v>
                </c:pt>
                <c:pt idx="365">
                  <c:v>44774</c:v>
                </c:pt>
                <c:pt idx="366">
                  <c:v>44775</c:v>
                </c:pt>
                <c:pt idx="367">
                  <c:v>44776</c:v>
                </c:pt>
                <c:pt idx="368">
                  <c:v>44777</c:v>
                </c:pt>
                <c:pt idx="369">
                  <c:v>44778</c:v>
                </c:pt>
                <c:pt idx="370">
                  <c:v>44781</c:v>
                </c:pt>
                <c:pt idx="371">
                  <c:v>44782</c:v>
                </c:pt>
                <c:pt idx="372">
                  <c:v>44783</c:v>
                </c:pt>
                <c:pt idx="373">
                  <c:v>44784</c:v>
                </c:pt>
                <c:pt idx="374">
                  <c:v>44785</c:v>
                </c:pt>
                <c:pt idx="375">
                  <c:v>44788</c:v>
                </c:pt>
                <c:pt idx="376">
                  <c:v>44789</c:v>
                </c:pt>
                <c:pt idx="377">
                  <c:v>44790</c:v>
                </c:pt>
                <c:pt idx="378">
                  <c:v>44791</c:v>
                </c:pt>
                <c:pt idx="379">
                  <c:v>44792</c:v>
                </c:pt>
                <c:pt idx="380">
                  <c:v>44795</c:v>
                </c:pt>
                <c:pt idx="381">
                  <c:v>44796</c:v>
                </c:pt>
                <c:pt idx="382">
                  <c:v>44797</c:v>
                </c:pt>
                <c:pt idx="383">
                  <c:v>44798</c:v>
                </c:pt>
                <c:pt idx="384">
                  <c:v>44799</c:v>
                </c:pt>
                <c:pt idx="385">
                  <c:v>44802</c:v>
                </c:pt>
                <c:pt idx="386">
                  <c:v>44803</c:v>
                </c:pt>
                <c:pt idx="387">
                  <c:v>44804</c:v>
                </c:pt>
                <c:pt idx="388">
                  <c:v>44805</c:v>
                </c:pt>
                <c:pt idx="389">
                  <c:v>44806</c:v>
                </c:pt>
                <c:pt idx="390">
                  <c:v>44810</c:v>
                </c:pt>
                <c:pt idx="391">
                  <c:v>44811</c:v>
                </c:pt>
                <c:pt idx="392">
                  <c:v>44812</c:v>
                </c:pt>
                <c:pt idx="393">
                  <c:v>44813</c:v>
                </c:pt>
                <c:pt idx="394">
                  <c:v>44816</c:v>
                </c:pt>
                <c:pt idx="395">
                  <c:v>44817</c:v>
                </c:pt>
                <c:pt idx="396">
                  <c:v>44818</c:v>
                </c:pt>
                <c:pt idx="397">
                  <c:v>44819</c:v>
                </c:pt>
                <c:pt idx="398">
                  <c:v>44820</c:v>
                </c:pt>
                <c:pt idx="399">
                  <c:v>44823</c:v>
                </c:pt>
                <c:pt idx="400">
                  <c:v>44824</c:v>
                </c:pt>
                <c:pt idx="401">
                  <c:v>44825</c:v>
                </c:pt>
                <c:pt idx="402">
                  <c:v>44826</c:v>
                </c:pt>
                <c:pt idx="403">
                  <c:v>44827</c:v>
                </c:pt>
                <c:pt idx="404">
                  <c:v>44830</c:v>
                </c:pt>
                <c:pt idx="405">
                  <c:v>44831</c:v>
                </c:pt>
                <c:pt idx="406">
                  <c:v>44832</c:v>
                </c:pt>
                <c:pt idx="407">
                  <c:v>44833</c:v>
                </c:pt>
                <c:pt idx="408">
                  <c:v>44834</c:v>
                </c:pt>
                <c:pt idx="409">
                  <c:v>44837</c:v>
                </c:pt>
                <c:pt idx="410">
                  <c:v>44838</c:v>
                </c:pt>
                <c:pt idx="411">
                  <c:v>44839</c:v>
                </c:pt>
                <c:pt idx="412">
                  <c:v>44840</c:v>
                </c:pt>
                <c:pt idx="413">
                  <c:v>44841</c:v>
                </c:pt>
                <c:pt idx="414">
                  <c:v>44845</c:v>
                </c:pt>
                <c:pt idx="415">
                  <c:v>44846</c:v>
                </c:pt>
                <c:pt idx="416">
                  <c:v>44847</c:v>
                </c:pt>
                <c:pt idx="417">
                  <c:v>44848</c:v>
                </c:pt>
                <c:pt idx="418">
                  <c:v>44851</c:v>
                </c:pt>
                <c:pt idx="419">
                  <c:v>44852</c:v>
                </c:pt>
                <c:pt idx="420">
                  <c:v>44853</c:v>
                </c:pt>
                <c:pt idx="421">
                  <c:v>44854</c:v>
                </c:pt>
                <c:pt idx="422">
                  <c:v>44855</c:v>
                </c:pt>
                <c:pt idx="423">
                  <c:v>44858</c:v>
                </c:pt>
                <c:pt idx="424">
                  <c:v>44859</c:v>
                </c:pt>
                <c:pt idx="425">
                  <c:v>44860</c:v>
                </c:pt>
                <c:pt idx="426">
                  <c:v>44861</c:v>
                </c:pt>
                <c:pt idx="427">
                  <c:v>44862</c:v>
                </c:pt>
                <c:pt idx="428">
                  <c:v>44865</c:v>
                </c:pt>
                <c:pt idx="429">
                  <c:v>44866</c:v>
                </c:pt>
                <c:pt idx="430">
                  <c:v>44867</c:v>
                </c:pt>
                <c:pt idx="431">
                  <c:v>44868</c:v>
                </c:pt>
                <c:pt idx="432">
                  <c:v>44869</c:v>
                </c:pt>
                <c:pt idx="433">
                  <c:v>44872</c:v>
                </c:pt>
                <c:pt idx="434">
                  <c:v>44873</c:v>
                </c:pt>
                <c:pt idx="435">
                  <c:v>44874</c:v>
                </c:pt>
                <c:pt idx="436">
                  <c:v>44875</c:v>
                </c:pt>
                <c:pt idx="437">
                  <c:v>44879</c:v>
                </c:pt>
                <c:pt idx="438">
                  <c:v>44880</c:v>
                </c:pt>
                <c:pt idx="439">
                  <c:v>44881</c:v>
                </c:pt>
                <c:pt idx="440">
                  <c:v>44882</c:v>
                </c:pt>
                <c:pt idx="441">
                  <c:v>44883</c:v>
                </c:pt>
                <c:pt idx="442">
                  <c:v>44886</c:v>
                </c:pt>
                <c:pt idx="443">
                  <c:v>44887</c:v>
                </c:pt>
                <c:pt idx="444">
                  <c:v>44888</c:v>
                </c:pt>
                <c:pt idx="445">
                  <c:v>44890</c:v>
                </c:pt>
                <c:pt idx="446">
                  <c:v>44893</c:v>
                </c:pt>
                <c:pt idx="447">
                  <c:v>44894</c:v>
                </c:pt>
                <c:pt idx="448">
                  <c:v>44895</c:v>
                </c:pt>
                <c:pt idx="449">
                  <c:v>44896</c:v>
                </c:pt>
                <c:pt idx="450">
                  <c:v>44897</c:v>
                </c:pt>
                <c:pt idx="451">
                  <c:v>44900</c:v>
                </c:pt>
                <c:pt idx="452">
                  <c:v>44901</c:v>
                </c:pt>
                <c:pt idx="453">
                  <c:v>44902</c:v>
                </c:pt>
                <c:pt idx="454">
                  <c:v>44903</c:v>
                </c:pt>
                <c:pt idx="455">
                  <c:v>44904</c:v>
                </c:pt>
                <c:pt idx="456">
                  <c:v>44907</c:v>
                </c:pt>
                <c:pt idx="457">
                  <c:v>44908</c:v>
                </c:pt>
                <c:pt idx="458">
                  <c:v>44909</c:v>
                </c:pt>
                <c:pt idx="459">
                  <c:v>44910</c:v>
                </c:pt>
                <c:pt idx="460">
                  <c:v>44911</c:v>
                </c:pt>
                <c:pt idx="461">
                  <c:v>44914</c:v>
                </c:pt>
                <c:pt idx="462">
                  <c:v>44915</c:v>
                </c:pt>
                <c:pt idx="463">
                  <c:v>44916</c:v>
                </c:pt>
                <c:pt idx="464">
                  <c:v>44917</c:v>
                </c:pt>
                <c:pt idx="465">
                  <c:v>44918</c:v>
                </c:pt>
                <c:pt idx="466">
                  <c:v>44922</c:v>
                </c:pt>
                <c:pt idx="467">
                  <c:v>44923</c:v>
                </c:pt>
                <c:pt idx="468">
                  <c:v>44924</c:v>
                </c:pt>
                <c:pt idx="469">
                  <c:v>44925</c:v>
                </c:pt>
                <c:pt idx="470">
                  <c:v>44929</c:v>
                </c:pt>
                <c:pt idx="471">
                  <c:v>44930</c:v>
                </c:pt>
                <c:pt idx="472">
                  <c:v>44931</c:v>
                </c:pt>
                <c:pt idx="473">
                  <c:v>44932</c:v>
                </c:pt>
                <c:pt idx="474">
                  <c:v>44935</c:v>
                </c:pt>
                <c:pt idx="475">
                  <c:v>44936</c:v>
                </c:pt>
                <c:pt idx="476">
                  <c:v>44937</c:v>
                </c:pt>
                <c:pt idx="477">
                  <c:v>44938</c:v>
                </c:pt>
                <c:pt idx="478">
                  <c:v>44939</c:v>
                </c:pt>
                <c:pt idx="479">
                  <c:v>44943</c:v>
                </c:pt>
                <c:pt idx="480">
                  <c:v>44944</c:v>
                </c:pt>
                <c:pt idx="481">
                  <c:v>44945</c:v>
                </c:pt>
                <c:pt idx="482">
                  <c:v>44946</c:v>
                </c:pt>
                <c:pt idx="483">
                  <c:v>44949</c:v>
                </c:pt>
                <c:pt idx="484">
                  <c:v>44950</c:v>
                </c:pt>
                <c:pt idx="485">
                  <c:v>44951</c:v>
                </c:pt>
                <c:pt idx="486">
                  <c:v>44952</c:v>
                </c:pt>
                <c:pt idx="487">
                  <c:v>44953</c:v>
                </c:pt>
                <c:pt idx="488">
                  <c:v>44956</c:v>
                </c:pt>
                <c:pt idx="489">
                  <c:v>44957</c:v>
                </c:pt>
                <c:pt idx="490">
                  <c:v>44958</c:v>
                </c:pt>
                <c:pt idx="491">
                  <c:v>44959</c:v>
                </c:pt>
                <c:pt idx="492">
                  <c:v>44960</c:v>
                </c:pt>
                <c:pt idx="493">
                  <c:v>44963</c:v>
                </c:pt>
                <c:pt idx="494">
                  <c:v>44964</c:v>
                </c:pt>
                <c:pt idx="495">
                  <c:v>44965</c:v>
                </c:pt>
                <c:pt idx="496">
                  <c:v>44966</c:v>
                </c:pt>
                <c:pt idx="497">
                  <c:v>44967</c:v>
                </c:pt>
                <c:pt idx="498">
                  <c:v>44970</c:v>
                </c:pt>
                <c:pt idx="499">
                  <c:v>44971</c:v>
                </c:pt>
                <c:pt idx="500">
                  <c:v>44972</c:v>
                </c:pt>
                <c:pt idx="501">
                  <c:v>44973</c:v>
                </c:pt>
                <c:pt idx="502">
                  <c:v>44974</c:v>
                </c:pt>
                <c:pt idx="503">
                  <c:v>44978</c:v>
                </c:pt>
                <c:pt idx="504">
                  <c:v>44979</c:v>
                </c:pt>
                <c:pt idx="505">
                  <c:v>44980</c:v>
                </c:pt>
                <c:pt idx="506">
                  <c:v>44981</c:v>
                </c:pt>
                <c:pt idx="507">
                  <c:v>44984</c:v>
                </c:pt>
                <c:pt idx="508">
                  <c:v>44985</c:v>
                </c:pt>
                <c:pt idx="509">
                  <c:v>44986</c:v>
                </c:pt>
                <c:pt idx="510">
                  <c:v>44987</c:v>
                </c:pt>
                <c:pt idx="511">
                  <c:v>44988</c:v>
                </c:pt>
                <c:pt idx="512">
                  <c:v>44991</c:v>
                </c:pt>
                <c:pt idx="513">
                  <c:v>44992</c:v>
                </c:pt>
                <c:pt idx="514">
                  <c:v>44993</c:v>
                </c:pt>
                <c:pt idx="515">
                  <c:v>44994</c:v>
                </c:pt>
                <c:pt idx="516">
                  <c:v>44995</c:v>
                </c:pt>
                <c:pt idx="517">
                  <c:v>44998</c:v>
                </c:pt>
                <c:pt idx="518">
                  <c:v>44999</c:v>
                </c:pt>
                <c:pt idx="519">
                  <c:v>45000</c:v>
                </c:pt>
                <c:pt idx="520">
                  <c:v>45001</c:v>
                </c:pt>
                <c:pt idx="521">
                  <c:v>45002</c:v>
                </c:pt>
                <c:pt idx="522">
                  <c:v>45005</c:v>
                </c:pt>
                <c:pt idx="523">
                  <c:v>45006</c:v>
                </c:pt>
                <c:pt idx="524">
                  <c:v>45007</c:v>
                </c:pt>
                <c:pt idx="525">
                  <c:v>45008</c:v>
                </c:pt>
                <c:pt idx="526">
                  <c:v>45009</c:v>
                </c:pt>
                <c:pt idx="527">
                  <c:v>45012</c:v>
                </c:pt>
                <c:pt idx="528">
                  <c:v>45013</c:v>
                </c:pt>
                <c:pt idx="529">
                  <c:v>45014</c:v>
                </c:pt>
                <c:pt idx="530">
                  <c:v>45015</c:v>
                </c:pt>
                <c:pt idx="531">
                  <c:v>45016</c:v>
                </c:pt>
                <c:pt idx="532">
                  <c:v>45019</c:v>
                </c:pt>
                <c:pt idx="533">
                  <c:v>45020</c:v>
                </c:pt>
                <c:pt idx="534">
                  <c:v>45021</c:v>
                </c:pt>
                <c:pt idx="535">
                  <c:v>45022</c:v>
                </c:pt>
                <c:pt idx="536">
                  <c:v>45026</c:v>
                </c:pt>
                <c:pt idx="537">
                  <c:v>45027</c:v>
                </c:pt>
                <c:pt idx="538">
                  <c:v>45028</c:v>
                </c:pt>
                <c:pt idx="539">
                  <c:v>45029</c:v>
                </c:pt>
                <c:pt idx="540">
                  <c:v>45030</c:v>
                </c:pt>
                <c:pt idx="541">
                  <c:v>45033</c:v>
                </c:pt>
                <c:pt idx="542">
                  <c:v>45034</c:v>
                </c:pt>
                <c:pt idx="543">
                  <c:v>45035</c:v>
                </c:pt>
                <c:pt idx="544">
                  <c:v>45036</c:v>
                </c:pt>
                <c:pt idx="545">
                  <c:v>45037</c:v>
                </c:pt>
                <c:pt idx="546">
                  <c:v>45040</c:v>
                </c:pt>
                <c:pt idx="547">
                  <c:v>45041</c:v>
                </c:pt>
                <c:pt idx="548">
                  <c:v>45042</c:v>
                </c:pt>
                <c:pt idx="549">
                  <c:v>45043</c:v>
                </c:pt>
                <c:pt idx="550">
                  <c:v>45044</c:v>
                </c:pt>
                <c:pt idx="551">
                  <c:v>45047</c:v>
                </c:pt>
                <c:pt idx="552">
                  <c:v>45048</c:v>
                </c:pt>
                <c:pt idx="553">
                  <c:v>45049</c:v>
                </c:pt>
                <c:pt idx="554">
                  <c:v>45050</c:v>
                </c:pt>
                <c:pt idx="555">
                  <c:v>45051</c:v>
                </c:pt>
                <c:pt idx="556">
                  <c:v>45054</c:v>
                </c:pt>
                <c:pt idx="557">
                  <c:v>45055</c:v>
                </c:pt>
                <c:pt idx="558">
                  <c:v>45056</c:v>
                </c:pt>
                <c:pt idx="559">
                  <c:v>45057</c:v>
                </c:pt>
                <c:pt idx="560">
                  <c:v>45058</c:v>
                </c:pt>
                <c:pt idx="561">
                  <c:v>45061</c:v>
                </c:pt>
                <c:pt idx="562">
                  <c:v>45062</c:v>
                </c:pt>
                <c:pt idx="563">
                  <c:v>45063</c:v>
                </c:pt>
                <c:pt idx="564">
                  <c:v>45064</c:v>
                </c:pt>
                <c:pt idx="565">
                  <c:v>45065</c:v>
                </c:pt>
                <c:pt idx="566">
                  <c:v>45068</c:v>
                </c:pt>
                <c:pt idx="567">
                  <c:v>45069</c:v>
                </c:pt>
                <c:pt idx="568">
                  <c:v>45070</c:v>
                </c:pt>
                <c:pt idx="569">
                  <c:v>45071</c:v>
                </c:pt>
                <c:pt idx="570">
                  <c:v>45072</c:v>
                </c:pt>
                <c:pt idx="571">
                  <c:v>45076</c:v>
                </c:pt>
                <c:pt idx="572">
                  <c:v>45077</c:v>
                </c:pt>
                <c:pt idx="573">
                  <c:v>45078</c:v>
                </c:pt>
                <c:pt idx="574">
                  <c:v>45079</c:v>
                </c:pt>
                <c:pt idx="575">
                  <c:v>45082</c:v>
                </c:pt>
                <c:pt idx="576">
                  <c:v>45083</c:v>
                </c:pt>
                <c:pt idx="577">
                  <c:v>45084</c:v>
                </c:pt>
                <c:pt idx="578">
                  <c:v>45085</c:v>
                </c:pt>
                <c:pt idx="579">
                  <c:v>45086</c:v>
                </c:pt>
                <c:pt idx="580">
                  <c:v>45089</c:v>
                </c:pt>
                <c:pt idx="581">
                  <c:v>45090</c:v>
                </c:pt>
                <c:pt idx="582">
                  <c:v>45091</c:v>
                </c:pt>
                <c:pt idx="583">
                  <c:v>45092</c:v>
                </c:pt>
                <c:pt idx="584">
                  <c:v>45093</c:v>
                </c:pt>
                <c:pt idx="585">
                  <c:v>45097</c:v>
                </c:pt>
                <c:pt idx="586">
                  <c:v>45098</c:v>
                </c:pt>
                <c:pt idx="587">
                  <c:v>45099</c:v>
                </c:pt>
                <c:pt idx="588">
                  <c:v>45100</c:v>
                </c:pt>
                <c:pt idx="589">
                  <c:v>45103</c:v>
                </c:pt>
                <c:pt idx="590">
                  <c:v>45104</c:v>
                </c:pt>
                <c:pt idx="591">
                  <c:v>45105</c:v>
                </c:pt>
                <c:pt idx="592">
                  <c:v>45106</c:v>
                </c:pt>
                <c:pt idx="593">
                  <c:v>45107</c:v>
                </c:pt>
                <c:pt idx="594">
                  <c:v>45110</c:v>
                </c:pt>
                <c:pt idx="595">
                  <c:v>45112</c:v>
                </c:pt>
                <c:pt idx="596">
                  <c:v>45113</c:v>
                </c:pt>
                <c:pt idx="597">
                  <c:v>45114</c:v>
                </c:pt>
                <c:pt idx="598">
                  <c:v>45117</c:v>
                </c:pt>
                <c:pt idx="599">
                  <c:v>45118</c:v>
                </c:pt>
                <c:pt idx="600">
                  <c:v>45119</c:v>
                </c:pt>
                <c:pt idx="601">
                  <c:v>45120</c:v>
                </c:pt>
                <c:pt idx="602">
                  <c:v>45121</c:v>
                </c:pt>
                <c:pt idx="603">
                  <c:v>45124</c:v>
                </c:pt>
                <c:pt idx="604">
                  <c:v>45125</c:v>
                </c:pt>
                <c:pt idx="605">
                  <c:v>45126</c:v>
                </c:pt>
                <c:pt idx="606">
                  <c:v>45127</c:v>
                </c:pt>
                <c:pt idx="607">
                  <c:v>45128</c:v>
                </c:pt>
                <c:pt idx="608">
                  <c:v>45131</c:v>
                </c:pt>
                <c:pt idx="609">
                  <c:v>45132</c:v>
                </c:pt>
                <c:pt idx="610">
                  <c:v>45133</c:v>
                </c:pt>
                <c:pt idx="611">
                  <c:v>45134</c:v>
                </c:pt>
                <c:pt idx="612">
                  <c:v>45135</c:v>
                </c:pt>
                <c:pt idx="613">
                  <c:v>45138</c:v>
                </c:pt>
                <c:pt idx="614">
                  <c:v>45139</c:v>
                </c:pt>
                <c:pt idx="615">
                  <c:v>45140</c:v>
                </c:pt>
                <c:pt idx="616">
                  <c:v>45141</c:v>
                </c:pt>
                <c:pt idx="617">
                  <c:v>45142</c:v>
                </c:pt>
                <c:pt idx="618">
                  <c:v>45145</c:v>
                </c:pt>
                <c:pt idx="619">
                  <c:v>45146</c:v>
                </c:pt>
                <c:pt idx="620">
                  <c:v>45147</c:v>
                </c:pt>
                <c:pt idx="621">
                  <c:v>45148</c:v>
                </c:pt>
                <c:pt idx="622">
                  <c:v>45149</c:v>
                </c:pt>
                <c:pt idx="623">
                  <c:v>45152</c:v>
                </c:pt>
                <c:pt idx="624">
                  <c:v>45153</c:v>
                </c:pt>
                <c:pt idx="625">
                  <c:v>45154</c:v>
                </c:pt>
                <c:pt idx="626">
                  <c:v>45155</c:v>
                </c:pt>
                <c:pt idx="627">
                  <c:v>45156</c:v>
                </c:pt>
                <c:pt idx="628">
                  <c:v>45159</c:v>
                </c:pt>
                <c:pt idx="629">
                  <c:v>45160</c:v>
                </c:pt>
                <c:pt idx="630">
                  <c:v>45161</c:v>
                </c:pt>
                <c:pt idx="631">
                  <c:v>45162</c:v>
                </c:pt>
                <c:pt idx="632">
                  <c:v>45163</c:v>
                </c:pt>
                <c:pt idx="633">
                  <c:v>45166</c:v>
                </c:pt>
                <c:pt idx="634">
                  <c:v>45167</c:v>
                </c:pt>
                <c:pt idx="635">
                  <c:v>45168</c:v>
                </c:pt>
                <c:pt idx="636">
                  <c:v>45169</c:v>
                </c:pt>
                <c:pt idx="637">
                  <c:v>45170</c:v>
                </c:pt>
                <c:pt idx="638">
                  <c:v>45174</c:v>
                </c:pt>
                <c:pt idx="639">
                  <c:v>45175</c:v>
                </c:pt>
                <c:pt idx="640">
                  <c:v>45176</c:v>
                </c:pt>
                <c:pt idx="641">
                  <c:v>45177</c:v>
                </c:pt>
                <c:pt idx="642">
                  <c:v>45180</c:v>
                </c:pt>
                <c:pt idx="643">
                  <c:v>45181</c:v>
                </c:pt>
                <c:pt idx="644">
                  <c:v>45182</c:v>
                </c:pt>
                <c:pt idx="645">
                  <c:v>45183</c:v>
                </c:pt>
                <c:pt idx="646">
                  <c:v>45184</c:v>
                </c:pt>
                <c:pt idx="647">
                  <c:v>45187</c:v>
                </c:pt>
                <c:pt idx="648">
                  <c:v>45188</c:v>
                </c:pt>
                <c:pt idx="649">
                  <c:v>45189</c:v>
                </c:pt>
                <c:pt idx="650">
                  <c:v>45190</c:v>
                </c:pt>
                <c:pt idx="651">
                  <c:v>45191</c:v>
                </c:pt>
                <c:pt idx="652">
                  <c:v>45194</c:v>
                </c:pt>
                <c:pt idx="653">
                  <c:v>45195</c:v>
                </c:pt>
                <c:pt idx="654">
                  <c:v>45196</c:v>
                </c:pt>
                <c:pt idx="655">
                  <c:v>45197</c:v>
                </c:pt>
                <c:pt idx="656">
                  <c:v>45198</c:v>
                </c:pt>
                <c:pt idx="657">
                  <c:v>45201</c:v>
                </c:pt>
                <c:pt idx="658">
                  <c:v>45202</c:v>
                </c:pt>
                <c:pt idx="659">
                  <c:v>45203</c:v>
                </c:pt>
                <c:pt idx="660">
                  <c:v>45204</c:v>
                </c:pt>
                <c:pt idx="661">
                  <c:v>45205</c:v>
                </c:pt>
                <c:pt idx="662">
                  <c:v>45209</c:v>
                </c:pt>
                <c:pt idx="663">
                  <c:v>45210</c:v>
                </c:pt>
                <c:pt idx="664">
                  <c:v>45211</c:v>
                </c:pt>
                <c:pt idx="665">
                  <c:v>45212</c:v>
                </c:pt>
                <c:pt idx="666">
                  <c:v>45215</c:v>
                </c:pt>
                <c:pt idx="667">
                  <c:v>45216</c:v>
                </c:pt>
                <c:pt idx="668">
                  <c:v>45217</c:v>
                </c:pt>
                <c:pt idx="669">
                  <c:v>45218</c:v>
                </c:pt>
                <c:pt idx="670">
                  <c:v>45219</c:v>
                </c:pt>
                <c:pt idx="671">
                  <c:v>45222</c:v>
                </c:pt>
                <c:pt idx="672">
                  <c:v>45223</c:v>
                </c:pt>
                <c:pt idx="673">
                  <c:v>45224</c:v>
                </c:pt>
                <c:pt idx="674">
                  <c:v>45225</c:v>
                </c:pt>
                <c:pt idx="675">
                  <c:v>45226</c:v>
                </c:pt>
                <c:pt idx="676">
                  <c:v>45229</c:v>
                </c:pt>
                <c:pt idx="677">
                  <c:v>45230</c:v>
                </c:pt>
                <c:pt idx="678">
                  <c:v>45231</c:v>
                </c:pt>
                <c:pt idx="679">
                  <c:v>45232</c:v>
                </c:pt>
                <c:pt idx="680">
                  <c:v>45233</c:v>
                </c:pt>
                <c:pt idx="681">
                  <c:v>45236</c:v>
                </c:pt>
              </c:numCache>
            </c:numRef>
          </c:cat>
          <c:val>
            <c:numRef>
              <c:f>Hoja1!$B$2:$B$683</c:f>
              <c:numCache>
                <c:formatCode>General</c:formatCode>
                <c:ptCount val="682"/>
                <c:pt idx="0">
                  <c:v>0.14898999999999998</c:v>
                </c:pt>
                <c:pt idx="1">
                  <c:v>0.1482</c:v>
                </c:pt>
                <c:pt idx="2">
                  <c:v>0.14801</c:v>
                </c:pt>
                <c:pt idx="3">
                  <c:v>0.14777999999999999</c:v>
                </c:pt>
                <c:pt idx="4">
                  <c:v>0.14874999999999999</c:v>
                </c:pt>
                <c:pt idx="5">
                  <c:v>0.14962999999999999</c:v>
                </c:pt>
                <c:pt idx="6">
                  <c:v>0.15096999999999999</c:v>
                </c:pt>
                <c:pt idx="7">
                  <c:v>0.15140999999999999</c:v>
                </c:pt>
                <c:pt idx="8">
                  <c:v>0.15243999999999999</c:v>
                </c:pt>
                <c:pt idx="9">
                  <c:v>0.15362000000000001</c:v>
                </c:pt>
                <c:pt idx="10">
                  <c:v>0.15522</c:v>
                </c:pt>
                <c:pt idx="11">
                  <c:v>0.15682000000000001</c:v>
                </c:pt>
                <c:pt idx="12">
                  <c:v>0.15814</c:v>
                </c:pt>
                <c:pt idx="13">
                  <c:v>0.16306999999999999</c:v>
                </c:pt>
                <c:pt idx="14">
                  <c:v>0.16383</c:v>
                </c:pt>
                <c:pt idx="15">
                  <c:v>0.16322</c:v>
                </c:pt>
                <c:pt idx="16">
                  <c:v>0.16263000000000002</c:v>
                </c:pt>
                <c:pt idx="17">
                  <c:v>0.16052</c:v>
                </c:pt>
                <c:pt idx="18">
                  <c:v>0.15919</c:v>
                </c:pt>
                <c:pt idx="19">
                  <c:v>0.15912000000000001</c:v>
                </c:pt>
                <c:pt idx="20">
                  <c:v>0.15790999999999999</c:v>
                </c:pt>
                <c:pt idx="21">
                  <c:v>0.15811999999999998</c:v>
                </c:pt>
                <c:pt idx="22">
                  <c:v>0.15814</c:v>
                </c:pt>
                <c:pt idx="23">
                  <c:v>0.15820000000000001</c:v>
                </c:pt>
                <c:pt idx="24">
                  <c:v>0.15895000000000001</c:v>
                </c:pt>
                <c:pt idx="25">
                  <c:v>0.15967999999999999</c:v>
                </c:pt>
                <c:pt idx="26">
                  <c:v>0.16225000000000001</c:v>
                </c:pt>
                <c:pt idx="27">
                  <c:v>0.16350000000000001</c:v>
                </c:pt>
                <c:pt idx="28">
                  <c:v>0.16406999999999999</c:v>
                </c:pt>
                <c:pt idx="29">
                  <c:v>0.16467999999999999</c:v>
                </c:pt>
                <c:pt idx="30">
                  <c:v>0.16687000000000002</c:v>
                </c:pt>
                <c:pt idx="31">
                  <c:v>0.16752</c:v>
                </c:pt>
                <c:pt idx="32">
                  <c:v>0.16674</c:v>
                </c:pt>
                <c:pt idx="33">
                  <c:v>0.16844000000000001</c:v>
                </c:pt>
                <c:pt idx="34">
                  <c:v>0.16835999999999998</c:v>
                </c:pt>
                <c:pt idx="35">
                  <c:v>0.16907</c:v>
                </c:pt>
                <c:pt idx="36">
                  <c:v>0.17175000000000001</c:v>
                </c:pt>
                <c:pt idx="37">
                  <c:v>0.17422000000000001</c:v>
                </c:pt>
                <c:pt idx="38">
                  <c:v>0.17399000000000001</c:v>
                </c:pt>
                <c:pt idx="39">
                  <c:v>0.17641999999999999</c:v>
                </c:pt>
                <c:pt idx="40">
                  <c:v>0.17963000000000001</c:v>
                </c:pt>
                <c:pt idx="41">
                  <c:v>0.17986999999999997</c:v>
                </c:pt>
                <c:pt idx="42">
                  <c:v>0.18031</c:v>
                </c:pt>
                <c:pt idx="43">
                  <c:v>0.18085000000000001</c:v>
                </c:pt>
                <c:pt idx="44">
                  <c:v>0.18204000000000001</c:v>
                </c:pt>
                <c:pt idx="45">
                  <c:v>0.18554999999999999</c:v>
                </c:pt>
                <c:pt idx="46">
                  <c:v>0.18559999999999999</c:v>
                </c:pt>
                <c:pt idx="47">
                  <c:v>0.18465000000000001</c:v>
                </c:pt>
                <c:pt idx="48">
                  <c:v>0.18245999999999998</c:v>
                </c:pt>
                <c:pt idx="49">
                  <c:v>0.17977000000000001</c:v>
                </c:pt>
                <c:pt idx="50">
                  <c:v>0.17842</c:v>
                </c:pt>
                <c:pt idx="51">
                  <c:v>0.17735000000000001</c:v>
                </c:pt>
                <c:pt idx="52">
                  <c:v>0.17587</c:v>
                </c:pt>
                <c:pt idx="53">
                  <c:v>0.17341999999999999</c:v>
                </c:pt>
                <c:pt idx="54">
                  <c:v>0.16882000000000003</c:v>
                </c:pt>
                <c:pt idx="55">
                  <c:v>0.16764999999999999</c:v>
                </c:pt>
                <c:pt idx="56">
                  <c:v>0.16774999999999998</c:v>
                </c:pt>
                <c:pt idx="57">
                  <c:v>0.16642999999999999</c:v>
                </c:pt>
                <c:pt idx="58">
                  <c:v>0.16454000000000002</c:v>
                </c:pt>
                <c:pt idx="59">
                  <c:v>0.1646</c:v>
                </c:pt>
                <c:pt idx="60">
                  <c:v>0.16039999999999999</c:v>
                </c:pt>
                <c:pt idx="61">
                  <c:v>0.16071000000000002</c:v>
                </c:pt>
                <c:pt idx="62">
                  <c:v>0.15945000000000001</c:v>
                </c:pt>
                <c:pt idx="63">
                  <c:v>0.15932000000000002</c:v>
                </c:pt>
                <c:pt idx="64">
                  <c:v>0.15891</c:v>
                </c:pt>
                <c:pt idx="65">
                  <c:v>0.15897</c:v>
                </c:pt>
                <c:pt idx="66">
                  <c:v>0.15962999999999999</c:v>
                </c:pt>
                <c:pt idx="67">
                  <c:v>0.15976000000000001</c:v>
                </c:pt>
                <c:pt idx="68">
                  <c:v>0.15984000000000001</c:v>
                </c:pt>
                <c:pt idx="69">
                  <c:v>0.15984000000000001</c:v>
                </c:pt>
                <c:pt idx="70">
                  <c:v>0.15977</c:v>
                </c:pt>
                <c:pt idx="71">
                  <c:v>0.16017000000000001</c:v>
                </c:pt>
                <c:pt idx="72">
                  <c:v>0.16024999999999998</c:v>
                </c:pt>
                <c:pt idx="73">
                  <c:v>0.15991</c:v>
                </c:pt>
                <c:pt idx="74">
                  <c:v>0.15795000000000001</c:v>
                </c:pt>
                <c:pt idx="75">
                  <c:v>0.15646000000000002</c:v>
                </c:pt>
                <c:pt idx="76">
                  <c:v>0.15417</c:v>
                </c:pt>
                <c:pt idx="77">
                  <c:v>0.15298999999999999</c:v>
                </c:pt>
                <c:pt idx="78">
                  <c:v>0.15123</c:v>
                </c:pt>
                <c:pt idx="79">
                  <c:v>0.14904999999999999</c:v>
                </c:pt>
                <c:pt idx="80">
                  <c:v>0.14557</c:v>
                </c:pt>
                <c:pt idx="81">
                  <c:v>0.14582000000000001</c:v>
                </c:pt>
                <c:pt idx="82">
                  <c:v>0.14587999999999998</c:v>
                </c:pt>
                <c:pt idx="83">
                  <c:v>0.14610000000000001</c:v>
                </c:pt>
                <c:pt idx="84">
                  <c:v>0.14534</c:v>
                </c:pt>
                <c:pt idx="85">
                  <c:v>0.14574999999999999</c:v>
                </c:pt>
                <c:pt idx="86">
                  <c:v>0.14566000000000001</c:v>
                </c:pt>
                <c:pt idx="87">
                  <c:v>0.14654</c:v>
                </c:pt>
                <c:pt idx="88">
                  <c:v>0.14624999999999999</c:v>
                </c:pt>
                <c:pt idx="89">
                  <c:v>0.14577000000000001</c:v>
                </c:pt>
                <c:pt idx="90">
                  <c:v>0.14554999999999998</c:v>
                </c:pt>
                <c:pt idx="91">
                  <c:v>0.1454</c:v>
                </c:pt>
                <c:pt idx="92">
                  <c:v>0.14609</c:v>
                </c:pt>
                <c:pt idx="93">
                  <c:v>0.14499000000000001</c:v>
                </c:pt>
                <c:pt idx="94">
                  <c:v>0.14499999999999999</c:v>
                </c:pt>
                <c:pt idx="95">
                  <c:v>0.14496999999999999</c:v>
                </c:pt>
                <c:pt idx="96">
                  <c:v>0.14486000000000002</c:v>
                </c:pt>
                <c:pt idx="97">
                  <c:v>0.14521000000000001</c:v>
                </c:pt>
                <c:pt idx="98">
                  <c:v>0.14532</c:v>
                </c:pt>
                <c:pt idx="99">
                  <c:v>0.14547000000000002</c:v>
                </c:pt>
                <c:pt idx="100">
                  <c:v>0.14554999999999998</c:v>
                </c:pt>
                <c:pt idx="101">
                  <c:v>0.14562</c:v>
                </c:pt>
                <c:pt idx="102">
                  <c:v>0.14587</c:v>
                </c:pt>
                <c:pt idx="103">
                  <c:v>0.14591999999999999</c:v>
                </c:pt>
                <c:pt idx="104">
                  <c:v>0.14596999999999999</c:v>
                </c:pt>
                <c:pt idx="105">
                  <c:v>0.14599999999999999</c:v>
                </c:pt>
                <c:pt idx="106">
                  <c:v>0.14601</c:v>
                </c:pt>
                <c:pt idx="107">
                  <c:v>0.14602999999999999</c:v>
                </c:pt>
                <c:pt idx="108">
                  <c:v>0.14602999999999999</c:v>
                </c:pt>
                <c:pt idx="109">
                  <c:v>0.14621999999999999</c:v>
                </c:pt>
                <c:pt idx="110">
                  <c:v>0.14615999999999998</c:v>
                </c:pt>
                <c:pt idx="111">
                  <c:v>0.14574000000000001</c:v>
                </c:pt>
                <c:pt idx="112">
                  <c:v>0.14666999999999999</c:v>
                </c:pt>
                <c:pt idx="113">
                  <c:v>0.14627000000000001</c:v>
                </c:pt>
                <c:pt idx="114">
                  <c:v>0.14635999999999999</c:v>
                </c:pt>
                <c:pt idx="115">
                  <c:v>0.14662</c:v>
                </c:pt>
                <c:pt idx="116">
                  <c:v>0.14644000000000001</c:v>
                </c:pt>
                <c:pt idx="117">
                  <c:v>0.14681</c:v>
                </c:pt>
                <c:pt idx="118">
                  <c:v>0.14676999999999998</c:v>
                </c:pt>
                <c:pt idx="119">
                  <c:v>0.14779999999999999</c:v>
                </c:pt>
                <c:pt idx="120">
                  <c:v>0.14777999999999999</c:v>
                </c:pt>
                <c:pt idx="121">
                  <c:v>0.1479</c:v>
                </c:pt>
                <c:pt idx="122">
                  <c:v>0.14756</c:v>
                </c:pt>
                <c:pt idx="123">
                  <c:v>0.14519000000000001</c:v>
                </c:pt>
                <c:pt idx="124">
                  <c:v>0.14382999999999999</c:v>
                </c:pt>
                <c:pt idx="125">
                  <c:v>0.14409</c:v>
                </c:pt>
                <c:pt idx="126">
                  <c:v>0.14404999999999998</c:v>
                </c:pt>
                <c:pt idx="127">
                  <c:v>0.14355000000000001</c:v>
                </c:pt>
                <c:pt idx="128">
                  <c:v>0.14360000000000001</c:v>
                </c:pt>
                <c:pt idx="129">
                  <c:v>0.14373</c:v>
                </c:pt>
                <c:pt idx="130">
                  <c:v>0.14371999999999999</c:v>
                </c:pt>
                <c:pt idx="131">
                  <c:v>0.14157</c:v>
                </c:pt>
                <c:pt idx="132">
                  <c:v>0.14022000000000001</c:v>
                </c:pt>
                <c:pt idx="133">
                  <c:v>0.13966000000000001</c:v>
                </c:pt>
                <c:pt idx="134">
                  <c:v>0.13941000000000001</c:v>
                </c:pt>
                <c:pt idx="135">
                  <c:v>0.13913</c:v>
                </c:pt>
                <c:pt idx="136">
                  <c:v>0.13818</c:v>
                </c:pt>
                <c:pt idx="137">
                  <c:v>0.13832</c:v>
                </c:pt>
                <c:pt idx="138">
                  <c:v>0.13797999999999999</c:v>
                </c:pt>
                <c:pt idx="139">
                  <c:v>0.13788</c:v>
                </c:pt>
                <c:pt idx="140">
                  <c:v>0.13771</c:v>
                </c:pt>
                <c:pt idx="141">
                  <c:v>0.13720000000000002</c:v>
                </c:pt>
                <c:pt idx="142">
                  <c:v>0.13739000000000001</c:v>
                </c:pt>
                <c:pt idx="143">
                  <c:v>0.13791999999999999</c:v>
                </c:pt>
                <c:pt idx="144">
                  <c:v>0.13849</c:v>
                </c:pt>
                <c:pt idx="145">
                  <c:v>0.13688</c:v>
                </c:pt>
                <c:pt idx="146">
                  <c:v>0.13669999999999999</c:v>
                </c:pt>
                <c:pt idx="147">
                  <c:v>0.13669999999999999</c:v>
                </c:pt>
                <c:pt idx="148">
                  <c:v>0.13677</c:v>
                </c:pt>
                <c:pt idx="149">
                  <c:v>0.13658000000000001</c:v>
                </c:pt>
                <c:pt idx="150">
                  <c:v>0.13788</c:v>
                </c:pt>
                <c:pt idx="151">
                  <c:v>0.1376</c:v>
                </c:pt>
                <c:pt idx="152">
                  <c:v>0.13738</c:v>
                </c:pt>
                <c:pt idx="153">
                  <c:v>0.13754</c:v>
                </c:pt>
                <c:pt idx="154">
                  <c:v>0.13839000000000001</c:v>
                </c:pt>
                <c:pt idx="155">
                  <c:v>0.13949</c:v>
                </c:pt>
                <c:pt idx="156">
                  <c:v>0.14021</c:v>
                </c:pt>
                <c:pt idx="157">
                  <c:v>0.14083000000000001</c:v>
                </c:pt>
                <c:pt idx="158">
                  <c:v>0.14107</c:v>
                </c:pt>
                <c:pt idx="159">
                  <c:v>0.1421</c:v>
                </c:pt>
                <c:pt idx="160">
                  <c:v>0.14365</c:v>
                </c:pt>
                <c:pt idx="161">
                  <c:v>0.14458000000000001</c:v>
                </c:pt>
                <c:pt idx="162">
                  <c:v>0.14445</c:v>
                </c:pt>
                <c:pt idx="163">
                  <c:v>0.14490999999999998</c:v>
                </c:pt>
                <c:pt idx="164">
                  <c:v>0.14454</c:v>
                </c:pt>
                <c:pt idx="165">
                  <c:v>0.14486000000000002</c:v>
                </c:pt>
                <c:pt idx="166">
                  <c:v>0.14476</c:v>
                </c:pt>
                <c:pt idx="167">
                  <c:v>0.14474999999999999</c:v>
                </c:pt>
                <c:pt idx="168">
                  <c:v>0.14480000000000001</c:v>
                </c:pt>
                <c:pt idx="169">
                  <c:v>0.14541999999999999</c:v>
                </c:pt>
                <c:pt idx="170">
                  <c:v>0.14596000000000001</c:v>
                </c:pt>
                <c:pt idx="171">
                  <c:v>0.14602000000000001</c:v>
                </c:pt>
                <c:pt idx="172">
                  <c:v>0.14630000000000001</c:v>
                </c:pt>
                <c:pt idx="173">
                  <c:v>0.14660000000000001</c:v>
                </c:pt>
                <c:pt idx="174">
                  <c:v>0.14649999999999999</c:v>
                </c:pt>
                <c:pt idx="175">
                  <c:v>0.14672000000000002</c:v>
                </c:pt>
                <c:pt idx="176">
                  <c:v>0.14682999999999999</c:v>
                </c:pt>
                <c:pt idx="177">
                  <c:v>0.14748</c:v>
                </c:pt>
                <c:pt idx="178">
                  <c:v>0.14777999999999999</c:v>
                </c:pt>
                <c:pt idx="179">
                  <c:v>0.14917</c:v>
                </c:pt>
                <c:pt idx="180">
                  <c:v>0.15048</c:v>
                </c:pt>
                <c:pt idx="181">
                  <c:v>0.15246000000000001</c:v>
                </c:pt>
                <c:pt idx="182">
                  <c:v>0.15228999999999998</c:v>
                </c:pt>
                <c:pt idx="183">
                  <c:v>0.15217</c:v>
                </c:pt>
                <c:pt idx="184">
                  <c:v>0.15423000000000001</c:v>
                </c:pt>
                <c:pt idx="185">
                  <c:v>0.15658</c:v>
                </c:pt>
                <c:pt idx="186">
                  <c:v>0.15673000000000001</c:v>
                </c:pt>
                <c:pt idx="187">
                  <c:v>0.15689999999999998</c:v>
                </c:pt>
                <c:pt idx="188">
                  <c:v>0.15586</c:v>
                </c:pt>
                <c:pt idx="189">
                  <c:v>0.15592</c:v>
                </c:pt>
                <c:pt idx="190">
                  <c:v>0.15747999999999998</c:v>
                </c:pt>
                <c:pt idx="191">
                  <c:v>0.15881000000000001</c:v>
                </c:pt>
                <c:pt idx="192">
                  <c:v>0.15939</c:v>
                </c:pt>
                <c:pt idx="193">
                  <c:v>0.15987999999999999</c:v>
                </c:pt>
                <c:pt idx="194">
                  <c:v>0.16271000000000002</c:v>
                </c:pt>
                <c:pt idx="195">
                  <c:v>0.16363</c:v>
                </c:pt>
                <c:pt idx="196">
                  <c:v>0.16433</c:v>
                </c:pt>
                <c:pt idx="197">
                  <c:v>0.16513999999999998</c:v>
                </c:pt>
                <c:pt idx="198">
                  <c:v>0.16638000000000003</c:v>
                </c:pt>
                <c:pt idx="199">
                  <c:v>0.16775999999999999</c:v>
                </c:pt>
                <c:pt idx="200">
                  <c:v>0.16821000000000003</c:v>
                </c:pt>
                <c:pt idx="201">
                  <c:v>0.16739999999999999</c:v>
                </c:pt>
                <c:pt idx="202">
                  <c:v>0.16763000000000003</c:v>
                </c:pt>
                <c:pt idx="203">
                  <c:v>0.16857</c:v>
                </c:pt>
                <c:pt idx="204">
                  <c:v>0.16871</c:v>
                </c:pt>
                <c:pt idx="205">
                  <c:v>0.16943000000000003</c:v>
                </c:pt>
                <c:pt idx="206">
                  <c:v>0.16935</c:v>
                </c:pt>
                <c:pt idx="207">
                  <c:v>0.16942000000000002</c:v>
                </c:pt>
                <c:pt idx="208">
                  <c:v>0.17199999999999999</c:v>
                </c:pt>
                <c:pt idx="209">
                  <c:v>0.17574000000000001</c:v>
                </c:pt>
                <c:pt idx="210">
                  <c:v>0.17449000000000001</c:v>
                </c:pt>
                <c:pt idx="211">
                  <c:v>0.17465</c:v>
                </c:pt>
                <c:pt idx="212">
                  <c:v>0.17541000000000001</c:v>
                </c:pt>
                <c:pt idx="213">
                  <c:v>0.17595</c:v>
                </c:pt>
                <c:pt idx="214">
                  <c:v>0.17630999999999999</c:v>
                </c:pt>
                <c:pt idx="215">
                  <c:v>0.17691999999999999</c:v>
                </c:pt>
                <c:pt idx="216">
                  <c:v>0.17655999999999999</c:v>
                </c:pt>
                <c:pt idx="217">
                  <c:v>0.17646999999999999</c:v>
                </c:pt>
                <c:pt idx="218">
                  <c:v>0.17660000000000001</c:v>
                </c:pt>
                <c:pt idx="219">
                  <c:v>0.17671000000000001</c:v>
                </c:pt>
                <c:pt idx="220">
                  <c:v>0.17649999999999999</c:v>
                </c:pt>
                <c:pt idx="221">
                  <c:v>0.17601</c:v>
                </c:pt>
                <c:pt idx="222">
                  <c:v>0.17493999999999998</c:v>
                </c:pt>
                <c:pt idx="223">
                  <c:v>0.17507</c:v>
                </c:pt>
                <c:pt idx="224">
                  <c:v>0.17654</c:v>
                </c:pt>
                <c:pt idx="225">
                  <c:v>0.17638999999999999</c:v>
                </c:pt>
                <c:pt idx="226">
                  <c:v>0.17710999999999999</c:v>
                </c:pt>
                <c:pt idx="227">
                  <c:v>0.17715</c:v>
                </c:pt>
                <c:pt idx="228">
                  <c:v>0.17582</c:v>
                </c:pt>
                <c:pt idx="229">
                  <c:v>0.17597000000000002</c:v>
                </c:pt>
                <c:pt idx="230">
                  <c:v>0.17736999999999997</c:v>
                </c:pt>
                <c:pt idx="231">
                  <c:v>0.18077000000000001</c:v>
                </c:pt>
                <c:pt idx="232">
                  <c:v>0.18094000000000002</c:v>
                </c:pt>
                <c:pt idx="233">
                  <c:v>0.18181</c:v>
                </c:pt>
                <c:pt idx="234">
                  <c:v>0.18236999999999998</c:v>
                </c:pt>
                <c:pt idx="235">
                  <c:v>0.18490999999999999</c:v>
                </c:pt>
                <c:pt idx="236">
                  <c:v>0.18523000000000001</c:v>
                </c:pt>
                <c:pt idx="237">
                  <c:v>0.18594999999999998</c:v>
                </c:pt>
                <c:pt idx="238">
                  <c:v>0.18696000000000002</c:v>
                </c:pt>
                <c:pt idx="239">
                  <c:v>0.17709</c:v>
                </c:pt>
                <c:pt idx="240">
                  <c:v>0.17507</c:v>
                </c:pt>
                <c:pt idx="241">
                  <c:v>0.16969999999999999</c:v>
                </c:pt>
                <c:pt idx="242">
                  <c:v>0.16420000000000001</c:v>
                </c:pt>
                <c:pt idx="243">
                  <c:v>0.16264000000000001</c:v>
                </c:pt>
                <c:pt idx="244">
                  <c:v>0.16163</c:v>
                </c:pt>
                <c:pt idx="245">
                  <c:v>0.15773999999999999</c:v>
                </c:pt>
                <c:pt idx="246">
                  <c:v>0.15629999999999999</c:v>
                </c:pt>
                <c:pt idx="247">
                  <c:v>0.15451999999999999</c:v>
                </c:pt>
                <c:pt idx="248">
                  <c:v>0.15206</c:v>
                </c:pt>
                <c:pt idx="249">
                  <c:v>0.15101000000000001</c:v>
                </c:pt>
                <c:pt idx="250">
                  <c:v>0.15085000000000001</c:v>
                </c:pt>
                <c:pt idx="251">
                  <c:v>0.15010000000000001</c:v>
                </c:pt>
                <c:pt idx="252">
                  <c:v>0.14985999999999999</c:v>
                </c:pt>
                <c:pt idx="253">
                  <c:v>0.14984</c:v>
                </c:pt>
                <c:pt idx="254">
                  <c:v>0.14892</c:v>
                </c:pt>
                <c:pt idx="255">
                  <c:v>0.14926</c:v>
                </c:pt>
                <c:pt idx="256">
                  <c:v>0.14845</c:v>
                </c:pt>
                <c:pt idx="257">
                  <c:v>0.14992</c:v>
                </c:pt>
                <c:pt idx="258">
                  <c:v>0.14992</c:v>
                </c:pt>
                <c:pt idx="259">
                  <c:v>0.15021000000000001</c:v>
                </c:pt>
                <c:pt idx="260">
                  <c:v>0.14852000000000001</c:v>
                </c:pt>
                <c:pt idx="261">
                  <c:v>0.14852000000000001</c:v>
                </c:pt>
                <c:pt idx="262">
                  <c:v>0.14851</c:v>
                </c:pt>
                <c:pt idx="263">
                  <c:v>0.14949999999999999</c:v>
                </c:pt>
                <c:pt idx="264">
                  <c:v>0.14954000000000001</c:v>
                </c:pt>
                <c:pt idx="265">
                  <c:v>0.15079000000000001</c:v>
                </c:pt>
                <c:pt idx="266">
                  <c:v>0.14957999999999999</c:v>
                </c:pt>
                <c:pt idx="267">
                  <c:v>0.14960999999999999</c:v>
                </c:pt>
                <c:pt idx="268">
                  <c:v>0.14940000000000001</c:v>
                </c:pt>
                <c:pt idx="269">
                  <c:v>0.14880000000000002</c:v>
                </c:pt>
                <c:pt idx="270">
                  <c:v>0.14892</c:v>
                </c:pt>
                <c:pt idx="271">
                  <c:v>0.14823</c:v>
                </c:pt>
                <c:pt idx="272">
                  <c:v>0.14797000000000002</c:v>
                </c:pt>
                <c:pt idx="273">
                  <c:v>0.14698</c:v>
                </c:pt>
                <c:pt idx="274">
                  <c:v>0.14641999999999999</c:v>
                </c:pt>
                <c:pt idx="275">
                  <c:v>0.14550000000000002</c:v>
                </c:pt>
                <c:pt idx="276">
                  <c:v>0.14463999999999999</c:v>
                </c:pt>
                <c:pt idx="277">
                  <c:v>0.14412</c:v>
                </c:pt>
                <c:pt idx="278">
                  <c:v>0.14385999999999999</c:v>
                </c:pt>
                <c:pt idx="279">
                  <c:v>0.14269999999999999</c:v>
                </c:pt>
                <c:pt idx="280">
                  <c:v>0.14219999999999999</c:v>
                </c:pt>
                <c:pt idx="281">
                  <c:v>0.1391</c:v>
                </c:pt>
                <c:pt idx="282">
                  <c:v>0.13694000000000001</c:v>
                </c:pt>
                <c:pt idx="283">
                  <c:v>0.13657</c:v>
                </c:pt>
                <c:pt idx="284">
                  <c:v>0.13455999999999999</c:v>
                </c:pt>
                <c:pt idx="285">
                  <c:v>0.13355</c:v>
                </c:pt>
                <c:pt idx="286">
                  <c:v>0.1346</c:v>
                </c:pt>
                <c:pt idx="287">
                  <c:v>0.13419</c:v>
                </c:pt>
                <c:pt idx="288">
                  <c:v>0.13425000000000001</c:v>
                </c:pt>
                <c:pt idx="289">
                  <c:v>0.13532</c:v>
                </c:pt>
                <c:pt idx="290">
                  <c:v>0.13550999999999999</c:v>
                </c:pt>
                <c:pt idx="291">
                  <c:v>0.13549</c:v>
                </c:pt>
                <c:pt idx="292">
                  <c:v>0.13577</c:v>
                </c:pt>
                <c:pt idx="293">
                  <c:v>0.13570000000000002</c:v>
                </c:pt>
                <c:pt idx="294">
                  <c:v>0.13618</c:v>
                </c:pt>
                <c:pt idx="295">
                  <c:v>0.13625000000000001</c:v>
                </c:pt>
                <c:pt idx="296">
                  <c:v>0.13666999999999999</c:v>
                </c:pt>
                <c:pt idx="297">
                  <c:v>0.13754</c:v>
                </c:pt>
                <c:pt idx="298">
                  <c:v>0.13752</c:v>
                </c:pt>
                <c:pt idx="299">
                  <c:v>0.13927</c:v>
                </c:pt>
                <c:pt idx="300">
                  <c:v>0.14087</c:v>
                </c:pt>
                <c:pt idx="301">
                  <c:v>0.14135999999999999</c:v>
                </c:pt>
                <c:pt idx="302">
                  <c:v>0.14243</c:v>
                </c:pt>
                <c:pt idx="303">
                  <c:v>0.14398</c:v>
                </c:pt>
                <c:pt idx="304">
                  <c:v>0.14627000000000001</c:v>
                </c:pt>
                <c:pt idx="305">
                  <c:v>0.14627999999999999</c:v>
                </c:pt>
                <c:pt idx="306">
                  <c:v>0.14718999999999999</c:v>
                </c:pt>
                <c:pt idx="307">
                  <c:v>0.14768999999999999</c:v>
                </c:pt>
                <c:pt idx="308">
                  <c:v>0.14977000000000001</c:v>
                </c:pt>
                <c:pt idx="309">
                  <c:v>0.15140999999999999</c:v>
                </c:pt>
                <c:pt idx="310">
                  <c:v>0.15279000000000001</c:v>
                </c:pt>
                <c:pt idx="311">
                  <c:v>0.15429999999999999</c:v>
                </c:pt>
                <c:pt idx="312">
                  <c:v>0.15496000000000001</c:v>
                </c:pt>
                <c:pt idx="313">
                  <c:v>0.15558</c:v>
                </c:pt>
                <c:pt idx="314">
                  <c:v>0.15625</c:v>
                </c:pt>
                <c:pt idx="315">
                  <c:v>0.15720999999999999</c:v>
                </c:pt>
                <c:pt idx="316">
                  <c:v>0.16097</c:v>
                </c:pt>
                <c:pt idx="317">
                  <c:v>0.16153999999999999</c:v>
                </c:pt>
                <c:pt idx="318">
                  <c:v>0.16268999999999997</c:v>
                </c:pt>
                <c:pt idx="319">
                  <c:v>0.16244</c:v>
                </c:pt>
                <c:pt idx="320">
                  <c:v>0.16203000000000001</c:v>
                </c:pt>
                <c:pt idx="321">
                  <c:v>0.16192000000000001</c:v>
                </c:pt>
                <c:pt idx="322">
                  <c:v>0.16207999999999997</c:v>
                </c:pt>
                <c:pt idx="323">
                  <c:v>0.16147999999999998</c:v>
                </c:pt>
                <c:pt idx="324">
                  <c:v>0.1593</c:v>
                </c:pt>
                <c:pt idx="325">
                  <c:v>0.157</c:v>
                </c:pt>
                <c:pt idx="326">
                  <c:v>0.15617</c:v>
                </c:pt>
                <c:pt idx="327">
                  <c:v>0.15628999999999998</c:v>
                </c:pt>
                <c:pt idx="328">
                  <c:v>0.15593000000000001</c:v>
                </c:pt>
                <c:pt idx="329">
                  <c:v>0.15540999999999999</c:v>
                </c:pt>
                <c:pt idx="330">
                  <c:v>0.15558</c:v>
                </c:pt>
                <c:pt idx="331">
                  <c:v>0.15648000000000001</c:v>
                </c:pt>
                <c:pt idx="332">
                  <c:v>0.16068000000000002</c:v>
                </c:pt>
                <c:pt idx="333">
                  <c:v>0.16144999999999998</c:v>
                </c:pt>
                <c:pt idx="334">
                  <c:v>0.16444</c:v>
                </c:pt>
                <c:pt idx="335">
                  <c:v>0.16728999999999999</c:v>
                </c:pt>
                <c:pt idx="336">
                  <c:v>0.16750000000000001</c:v>
                </c:pt>
                <c:pt idx="337">
                  <c:v>0.16866</c:v>
                </c:pt>
                <c:pt idx="338">
                  <c:v>0.17208999999999999</c:v>
                </c:pt>
                <c:pt idx="339">
                  <c:v>0.17457999999999999</c:v>
                </c:pt>
                <c:pt idx="340">
                  <c:v>0.17745999999999998</c:v>
                </c:pt>
                <c:pt idx="341">
                  <c:v>0.1827</c:v>
                </c:pt>
                <c:pt idx="342">
                  <c:v>0.18510000000000001</c:v>
                </c:pt>
                <c:pt idx="343">
                  <c:v>0.19105</c:v>
                </c:pt>
                <c:pt idx="344">
                  <c:v>0.19183</c:v>
                </c:pt>
                <c:pt idx="345">
                  <c:v>0.19206000000000001</c:v>
                </c:pt>
                <c:pt idx="346">
                  <c:v>0.19505</c:v>
                </c:pt>
                <c:pt idx="347">
                  <c:v>0.20416000000000001</c:v>
                </c:pt>
                <c:pt idx="348">
                  <c:v>0.20899000000000001</c:v>
                </c:pt>
                <c:pt idx="349">
                  <c:v>0.22545000000000001</c:v>
                </c:pt>
                <c:pt idx="350">
                  <c:v>0.22158</c:v>
                </c:pt>
                <c:pt idx="351">
                  <c:v>0.22319</c:v>
                </c:pt>
                <c:pt idx="352">
                  <c:v>0.22045000000000001</c:v>
                </c:pt>
                <c:pt idx="353">
                  <c:v>0.23111999999999999</c:v>
                </c:pt>
                <c:pt idx="354">
                  <c:v>0.2324</c:v>
                </c:pt>
                <c:pt idx="355">
                  <c:v>0.22457999999999997</c:v>
                </c:pt>
                <c:pt idx="356">
                  <c:v>0.22258</c:v>
                </c:pt>
                <c:pt idx="357">
                  <c:v>0.21384</c:v>
                </c:pt>
                <c:pt idx="358">
                  <c:v>0.20926999999999998</c:v>
                </c:pt>
                <c:pt idx="359">
                  <c:v>0.20934999999999998</c:v>
                </c:pt>
                <c:pt idx="360">
                  <c:v>0.2104</c:v>
                </c:pt>
                <c:pt idx="361">
                  <c:v>0.21184</c:v>
                </c:pt>
                <c:pt idx="362">
                  <c:v>0.21230000000000002</c:v>
                </c:pt>
                <c:pt idx="363">
                  <c:v>0.20864999999999997</c:v>
                </c:pt>
                <c:pt idx="364">
                  <c:v>0.20608000000000001</c:v>
                </c:pt>
                <c:pt idx="365">
                  <c:v>0.20393</c:v>
                </c:pt>
                <c:pt idx="366">
                  <c:v>0.20315999999999998</c:v>
                </c:pt>
                <c:pt idx="367">
                  <c:v>0.20372000000000001</c:v>
                </c:pt>
                <c:pt idx="368">
                  <c:v>0.19850999999999999</c:v>
                </c:pt>
                <c:pt idx="369">
                  <c:v>0.19524999999999998</c:v>
                </c:pt>
                <c:pt idx="370">
                  <c:v>0.19281999999999999</c:v>
                </c:pt>
                <c:pt idx="371">
                  <c:v>0.19231999999999999</c:v>
                </c:pt>
                <c:pt idx="372">
                  <c:v>0.19011</c:v>
                </c:pt>
                <c:pt idx="373">
                  <c:v>0.18463000000000002</c:v>
                </c:pt>
                <c:pt idx="374">
                  <c:v>0.18357999999999999</c:v>
                </c:pt>
                <c:pt idx="375">
                  <c:v>0.18256</c:v>
                </c:pt>
                <c:pt idx="376">
                  <c:v>0.18248999999999999</c:v>
                </c:pt>
                <c:pt idx="377">
                  <c:v>0.18288000000000001</c:v>
                </c:pt>
                <c:pt idx="378">
                  <c:v>0.18239999999999998</c:v>
                </c:pt>
                <c:pt idx="379">
                  <c:v>0.18347000000000002</c:v>
                </c:pt>
                <c:pt idx="380">
                  <c:v>0.18426999999999999</c:v>
                </c:pt>
                <c:pt idx="381">
                  <c:v>0.18379000000000001</c:v>
                </c:pt>
                <c:pt idx="382">
                  <c:v>0.18096000000000001</c:v>
                </c:pt>
                <c:pt idx="383">
                  <c:v>0.17868999999999999</c:v>
                </c:pt>
                <c:pt idx="384">
                  <c:v>0.17896000000000001</c:v>
                </c:pt>
                <c:pt idx="385">
                  <c:v>0.18</c:v>
                </c:pt>
                <c:pt idx="386">
                  <c:v>0.18117</c:v>
                </c:pt>
                <c:pt idx="387">
                  <c:v>0.18227000000000002</c:v>
                </c:pt>
                <c:pt idx="388">
                  <c:v>0.18376000000000001</c:v>
                </c:pt>
                <c:pt idx="389">
                  <c:v>0.18432999999999999</c:v>
                </c:pt>
                <c:pt idx="390">
                  <c:v>0.18410000000000001</c:v>
                </c:pt>
                <c:pt idx="391">
                  <c:v>0.18284</c:v>
                </c:pt>
                <c:pt idx="392">
                  <c:v>0.18184999999999998</c:v>
                </c:pt>
                <c:pt idx="393">
                  <c:v>0.18155000000000002</c:v>
                </c:pt>
                <c:pt idx="394">
                  <c:v>0.17931</c:v>
                </c:pt>
                <c:pt idx="395">
                  <c:v>0.17888999999999999</c:v>
                </c:pt>
                <c:pt idx="396">
                  <c:v>0.17652000000000001</c:v>
                </c:pt>
                <c:pt idx="397">
                  <c:v>0.17454</c:v>
                </c:pt>
                <c:pt idx="398">
                  <c:v>0.17510999999999999</c:v>
                </c:pt>
                <c:pt idx="399">
                  <c:v>0.17559999999999998</c:v>
                </c:pt>
                <c:pt idx="400">
                  <c:v>0.17707000000000001</c:v>
                </c:pt>
                <c:pt idx="401">
                  <c:v>0.17727000000000001</c:v>
                </c:pt>
                <c:pt idx="402">
                  <c:v>0.17871999999999999</c:v>
                </c:pt>
                <c:pt idx="403">
                  <c:v>0.18204000000000001</c:v>
                </c:pt>
                <c:pt idx="404">
                  <c:v>0.18609000000000001</c:v>
                </c:pt>
                <c:pt idx="405">
                  <c:v>0.19036</c:v>
                </c:pt>
                <c:pt idx="406">
                  <c:v>0.19149999999999998</c:v>
                </c:pt>
                <c:pt idx="407">
                  <c:v>0.19447</c:v>
                </c:pt>
                <c:pt idx="408">
                  <c:v>0.19530999999999998</c:v>
                </c:pt>
                <c:pt idx="409">
                  <c:v>0.19408</c:v>
                </c:pt>
                <c:pt idx="410">
                  <c:v>0.19039999999999999</c:v>
                </c:pt>
                <c:pt idx="411">
                  <c:v>0.19082999999999997</c:v>
                </c:pt>
                <c:pt idx="412">
                  <c:v>0.19108</c:v>
                </c:pt>
                <c:pt idx="413">
                  <c:v>0.19172</c:v>
                </c:pt>
                <c:pt idx="414">
                  <c:v>0.19497</c:v>
                </c:pt>
                <c:pt idx="415">
                  <c:v>0.19586999999999999</c:v>
                </c:pt>
                <c:pt idx="416">
                  <c:v>0.19902999999999998</c:v>
                </c:pt>
                <c:pt idx="417">
                  <c:v>0.19927</c:v>
                </c:pt>
                <c:pt idx="418">
                  <c:v>0.19943000000000002</c:v>
                </c:pt>
                <c:pt idx="419">
                  <c:v>0.19835999999999998</c:v>
                </c:pt>
                <c:pt idx="420">
                  <c:v>0.20001000000000002</c:v>
                </c:pt>
                <c:pt idx="421">
                  <c:v>0.19950999999999999</c:v>
                </c:pt>
                <c:pt idx="422">
                  <c:v>0.20032</c:v>
                </c:pt>
                <c:pt idx="423">
                  <c:v>0.20001999999999998</c:v>
                </c:pt>
                <c:pt idx="424">
                  <c:v>0.19861000000000001</c:v>
                </c:pt>
                <c:pt idx="425">
                  <c:v>0.19596</c:v>
                </c:pt>
                <c:pt idx="426">
                  <c:v>0.19495999999999999</c:v>
                </c:pt>
                <c:pt idx="427">
                  <c:v>0.19332000000000002</c:v>
                </c:pt>
                <c:pt idx="428">
                  <c:v>0.18994</c:v>
                </c:pt>
                <c:pt idx="429">
                  <c:v>0.18847999999999998</c:v>
                </c:pt>
                <c:pt idx="430">
                  <c:v>0.18713000000000002</c:v>
                </c:pt>
                <c:pt idx="431">
                  <c:v>0.18844000000000002</c:v>
                </c:pt>
                <c:pt idx="432">
                  <c:v>0.18838999999999997</c:v>
                </c:pt>
                <c:pt idx="433">
                  <c:v>0.18804999999999999</c:v>
                </c:pt>
                <c:pt idx="434">
                  <c:v>0.1852</c:v>
                </c:pt>
                <c:pt idx="435">
                  <c:v>0.18423999999999999</c:v>
                </c:pt>
                <c:pt idx="436">
                  <c:v>0.18318000000000001</c:v>
                </c:pt>
                <c:pt idx="437">
                  <c:v>0.17973</c:v>
                </c:pt>
                <c:pt idx="438">
                  <c:v>0.17454999999999998</c:v>
                </c:pt>
                <c:pt idx="439">
                  <c:v>0.17130999999999999</c:v>
                </c:pt>
                <c:pt idx="440">
                  <c:v>0.17093</c:v>
                </c:pt>
                <c:pt idx="441">
                  <c:v>0.16934000000000002</c:v>
                </c:pt>
                <c:pt idx="442">
                  <c:v>0.16820000000000002</c:v>
                </c:pt>
                <c:pt idx="443">
                  <c:v>0.16664999999999999</c:v>
                </c:pt>
                <c:pt idx="444">
                  <c:v>0.16677</c:v>
                </c:pt>
                <c:pt idx="445">
                  <c:v>0.16631000000000001</c:v>
                </c:pt>
                <c:pt idx="446">
                  <c:v>0.16359000000000001</c:v>
                </c:pt>
                <c:pt idx="447">
                  <c:v>0.16103000000000001</c:v>
                </c:pt>
                <c:pt idx="448">
                  <c:v>0.16018000000000002</c:v>
                </c:pt>
                <c:pt idx="449">
                  <c:v>0.15804000000000001</c:v>
                </c:pt>
                <c:pt idx="450">
                  <c:v>0.15460000000000002</c:v>
                </c:pt>
                <c:pt idx="451">
                  <c:v>0.15304999999999999</c:v>
                </c:pt>
                <c:pt idx="452">
                  <c:v>0.15313000000000002</c:v>
                </c:pt>
                <c:pt idx="453">
                  <c:v>0.15231999999999998</c:v>
                </c:pt>
                <c:pt idx="454">
                  <c:v>0.15118000000000001</c:v>
                </c:pt>
                <c:pt idx="455">
                  <c:v>0.15012999999999999</c:v>
                </c:pt>
                <c:pt idx="456">
                  <c:v>0.14941000000000002</c:v>
                </c:pt>
                <c:pt idx="457">
                  <c:v>0.14705000000000001</c:v>
                </c:pt>
                <c:pt idx="458">
                  <c:v>0.1449</c:v>
                </c:pt>
                <c:pt idx="459">
                  <c:v>0.14323</c:v>
                </c:pt>
                <c:pt idx="460">
                  <c:v>0.14305000000000001</c:v>
                </c:pt>
                <c:pt idx="461">
                  <c:v>0.14229</c:v>
                </c:pt>
                <c:pt idx="462">
                  <c:v>0.14137</c:v>
                </c:pt>
                <c:pt idx="463">
                  <c:v>0.14011999999999999</c:v>
                </c:pt>
                <c:pt idx="464">
                  <c:v>0.13976</c:v>
                </c:pt>
                <c:pt idx="465">
                  <c:v>0.13919000000000001</c:v>
                </c:pt>
                <c:pt idx="466">
                  <c:v>0.13918</c:v>
                </c:pt>
                <c:pt idx="467">
                  <c:v>0.13875999999999999</c:v>
                </c:pt>
                <c:pt idx="468">
                  <c:v>0.13816000000000001</c:v>
                </c:pt>
                <c:pt idx="469">
                  <c:v>0.13735</c:v>
                </c:pt>
                <c:pt idx="470">
                  <c:v>0.13497000000000001</c:v>
                </c:pt>
                <c:pt idx="471">
                  <c:v>0.13400999999999999</c:v>
                </c:pt>
                <c:pt idx="472">
                  <c:v>0.13409000000000001</c:v>
                </c:pt>
                <c:pt idx="473">
                  <c:v>0.13367000000000001</c:v>
                </c:pt>
                <c:pt idx="474">
                  <c:v>0.13287000000000002</c:v>
                </c:pt>
                <c:pt idx="475">
                  <c:v>0.13275999999999999</c:v>
                </c:pt>
                <c:pt idx="476">
                  <c:v>0.13188</c:v>
                </c:pt>
                <c:pt idx="477">
                  <c:v>0.13141</c:v>
                </c:pt>
                <c:pt idx="478">
                  <c:v>0.13131999999999999</c:v>
                </c:pt>
                <c:pt idx="479">
                  <c:v>0.13014000000000001</c:v>
                </c:pt>
                <c:pt idx="480">
                  <c:v>0.12787000000000001</c:v>
                </c:pt>
                <c:pt idx="481">
                  <c:v>0.12954000000000002</c:v>
                </c:pt>
                <c:pt idx="482">
                  <c:v>0.12973999999999999</c:v>
                </c:pt>
                <c:pt idx="483">
                  <c:v>0.12852</c:v>
                </c:pt>
                <c:pt idx="484">
                  <c:v>0.12592</c:v>
                </c:pt>
                <c:pt idx="485">
                  <c:v>0.12381</c:v>
                </c:pt>
                <c:pt idx="486">
                  <c:v>0.12285</c:v>
                </c:pt>
                <c:pt idx="487">
                  <c:v>0.12240000000000001</c:v>
                </c:pt>
                <c:pt idx="488">
                  <c:v>0.12121</c:v>
                </c:pt>
                <c:pt idx="489">
                  <c:v>0.12028</c:v>
                </c:pt>
                <c:pt idx="490">
                  <c:v>0.11807000000000001</c:v>
                </c:pt>
                <c:pt idx="491">
                  <c:v>0.11586</c:v>
                </c:pt>
                <c:pt idx="492">
                  <c:v>0.11512</c:v>
                </c:pt>
                <c:pt idx="493">
                  <c:v>0.11586</c:v>
                </c:pt>
                <c:pt idx="494">
                  <c:v>0.11721999999999999</c:v>
                </c:pt>
                <c:pt idx="495">
                  <c:v>0.11759</c:v>
                </c:pt>
                <c:pt idx="496">
                  <c:v>0.11796</c:v>
                </c:pt>
                <c:pt idx="497">
                  <c:v>0.11851</c:v>
                </c:pt>
                <c:pt idx="498">
                  <c:v>0.11853999999999999</c:v>
                </c:pt>
                <c:pt idx="499">
                  <c:v>0.11889</c:v>
                </c:pt>
                <c:pt idx="500">
                  <c:v>0.11933999999999999</c:v>
                </c:pt>
                <c:pt idx="501">
                  <c:v>0.11923</c:v>
                </c:pt>
                <c:pt idx="502">
                  <c:v>0.11993000000000001</c:v>
                </c:pt>
                <c:pt idx="503">
                  <c:v>0.12025999999999999</c:v>
                </c:pt>
                <c:pt idx="504">
                  <c:v>0.12076000000000001</c:v>
                </c:pt>
                <c:pt idx="505">
                  <c:v>0.12079000000000001</c:v>
                </c:pt>
                <c:pt idx="506">
                  <c:v>0.12077</c:v>
                </c:pt>
                <c:pt idx="507">
                  <c:v>0.12037</c:v>
                </c:pt>
                <c:pt idx="508">
                  <c:v>0.11997999999999999</c:v>
                </c:pt>
                <c:pt idx="509">
                  <c:v>0.12037</c:v>
                </c:pt>
                <c:pt idx="510">
                  <c:v>0.12156</c:v>
                </c:pt>
                <c:pt idx="511">
                  <c:v>0.12188</c:v>
                </c:pt>
                <c:pt idx="512">
                  <c:v>0.12199</c:v>
                </c:pt>
                <c:pt idx="513">
                  <c:v>0.12275999999999999</c:v>
                </c:pt>
                <c:pt idx="514">
                  <c:v>0.12307</c:v>
                </c:pt>
                <c:pt idx="515">
                  <c:v>0.12403</c:v>
                </c:pt>
                <c:pt idx="516">
                  <c:v>0.12497</c:v>
                </c:pt>
                <c:pt idx="517">
                  <c:v>0.12622</c:v>
                </c:pt>
                <c:pt idx="518">
                  <c:v>0.12697</c:v>
                </c:pt>
                <c:pt idx="519">
                  <c:v>0.12897</c:v>
                </c:pt>
                <c:pt idx="520">
                  <c:v>0.12992999999999999</c:v>
                </c:pt>
                <c:pt idx="521">
                  <c:v>0.13028000000000001</c:v>
                </c:pt>
                <c:pt idx="522">
                  <c:v>0.13089000000000001</c:v>
                </c:pt>
                <c:pt idx="523">
                  <c:v>0.13117999999999999</c:v>
                </c:pt>
                <c:pt idx="524">
                  <c:v>0.13268000000000002</c:v>
                </c:pt>
                <c:pt idx="525">
                  <c:v>0.13442000000000001</c:v>
                </c:pt>
                <c:pt idx="526">
                  <c:v>0.13671</c:v>
                </c:pt>
                <c:pt idx="527">
                  <c:v>0.1386</c:v>
                </c:pt>
                <c:pt idx="528">
                  <c:v>0.13915</c:v>
                </c:pt>
                <c:pt idx="529">
                  <c:v>0.13913999999999999</c:v>
                </c:pt>
                <c:pt idx="530">
                  <c:v>0.13763</c:v>
                </c:pt>
                <c:pt idx="531">
                  <c:v>0.13672000000000001</c:v>
                </c:pt>
                <c:pt idx="532">
                  <c:v>0.13628999999999999</c:v>
                </c:pt>
                <c:pt idx="533">
                  <c:v>0.13686000000000001</c:v>
                </c:pt>
                <c:pt idx="534">
                  <c:v>0.13880999999999999</c:v>
                </c:pt>
                <c:pt idx="535">
                  <c:v>0.13952999999999999</c:v>
                </c:pt>
                <c:pt idx="536">
                  <c:v>0.13811999999999999</c:v>
                </c:pt>
                <c:pt idx="537">
                  <c:v>0.13329000000000002</c:v>
                </c:pt>
                <c:pt idx="538">
                  <c:v>0.13076000000000002</c:v>
                </c:pt>
                <c:pt idx="539">
                  <c:v>0.13077</c:v>
                </c:pt>
                <c:pt idx="540">
                  <c:v>0.12639</c:v>
                </c:pt>
                <c:pt idx="541">
                  <c:v>0.12714999999999999</c:v>
                </c:pt>
                <c:pt idx="542">
                  <c:v>0.12795999999999999</c:v>
                </c:pt>
                <c:pt idx="543">
                  <c:v>0.13016</c:v>
                </c:pt>
                <c:pt idx="544">
                  <c:v>0.13124</c:v>
                </c:pt>
                <c:pt idx="545">
                  <c:v>0.13195999999999999</c:v>
                </c:pt>
                <c:pt idx="546">
                  <c:v>0.13436000000000001</c:v>
                </c:pt>
                <c:pt idx="547">
                  <c:v>0.1368</c:v>
                </c:pt>
                <c:pt idx="548">
                  <c:v>0.13791999999999999</c:v>
                </c:pt>
                <c:pt idx="549">
                  <c:v>0.13904</c:v>
                </c:pt>
                <c:pt idx="550">
                  <c:v>0.13909000000000002</c:v>
                </c:pt>
                <c:pt idx="551">
                  <c:v>0.13946999999999998</c:v>
                </c:pt>
                <c:pt idx="552">
                  <c:v>0.14029</c:v>
                </c:pt>
                <c:pt idx="553">
                  <c:v>0.13964000000000001</c:v>
                </c:pt>
                <c:pt idx="554">
                  <c:v>0.13958999999999999</c:v>
                </c:pt>
                <c:pt idx="555">
                  <c:v>0.13910999999999998</c:v>
                </c:pt>
                <c:pt idx="556">
                  <c:v>0.13864000000000001</c:v>
                </c:pt>
                <c:pt idx="557">
                  <c:v>0.13793</c:v>
                </c:pt>
                <c:pt idx="558">
                  <c:v>0.13686000000000001</c:v>
                </c:pt>
                <c:pt idx="559">
                  <c:v>0.13650999999999999</c:v>
                </c:pt>
                <c:pt idx="560">
                  <c:v>0.13542999999999999</c:v>
                </c:pt>
                <c:pt idx="561">
                  <c:v>0.1353</c:v>
                </c:pt>
                <c:pt idx="562">
                  <c:v>0.13500999999999999</c:v>
                </c:pt>
                <c:pt idx="563">
                  <c:v>0.13444</c:v>
                </c:pt>
                <c:pt idx="564">
                  <c:v>0.13403000000000001</c:v>
                </c:pt>
                <c:pt idx="565">
                  <c:v>0.13369</c:v>
                </c:pt>
                <c:pt idx="566">
                  <c:v>0.13253999999999999</c:v>
                </c:pt>
                <c:pt idx="567">
                  <c:v>0.13202999999999998</c:v>
                </c:pt>
                <c:pt idx="568">
                  <c:v>0.13106999999999999</c:v>
                </c:pt>
                <c:pt idx="569">
                  <c:v>0.13109000000000001</c:v>
                </c:pt>
                <c:pt idx="570">
                  <c:v>0.13122999999999999</c:v>
                </c:pt>
                <c:pt idx="571">
                  <c:v>0.13023999999999999</c:v>
                </c:pt>
                <c:pt idx="572">
                  <c:v>0.12944</c:v>
                </c:pt>
                <c:pt idx="573">
                  <c:v>0.12976000000000001</c:v>
                </c:pt>
                <c:pt idx="574">
                  <c:v>0.12952</c:v>
                </c:pt>
                <c:pt idx="575">
                  <c:v>0.12954000000000002</c:v>
                </c:pt>
                <c:pt idx="576">
                  <c:v>0.12852</c:v>
                </c:pt>
                <c:pt idx="577">
                  <c:v>0.12695000000000001</c:v>
                </c:pt>
                <c:pt idx="578">
                  <c:v>0.12653999999999999</c:v>
                </c:pt>
                <c:pt idx="579">
                  <c:v>0.12625999999999998</c:v>
                </c:pt>
                <c:pt idx="580">
                  <c:v>0.12523000000000001</c:v>
                </c:pt>
                <c:pt idx="581">
                  <c:v>0.12252</c:v>
                </c:pt>
                <c:pt idx="582">
                  <c:v>0.12205000000000001</c:v>
                </c:pt>
                <c:pt idx="583">
                  <c:v>0.12208000000000001</c:v>
                </c:pt>
                <c:pt idx="584">
                  <c:v>0.12138</c:v>
                </c:pt>
                <c:pt idx="585">
                  <c:v>0.12053000000000001</c:v>
                </c:pt>
                <c:pt idx="586">
                  <c:v>0.11903999999999999</c:v>
                </c:pt>
                <c:pt idx="587">
                  <c:v>0.11686000000000001</c:v>
                </c:pt>
                <c:pt idx="588">
                  <c:v>0.11647</c:v>
                </c:pt>
                <c:pt idx="589">
                  <c:v>0.11454</c:v>
                </c:pt>
                <c:pt idx="590">
                  <c:v>0.11351000000000001</c:v>
                </c:pt>
                <c:pt idx="591">
                  <c:v>0.11275</c:v>
                </c:pt>
                <c:pt idx="592">
                  <c:v>0.11237</c:v>
                </c:pt>
                <c:pt idx="593">
                  <c:v>0.11185</c:v>
                </c:pt>
                <c:pt idx="594">
                  <c:v>0.11033</c:v>
                </c:pt>
                <c:pt idx="595">
                  <c:v>0.10981</c:v>
                </c:pt>
                <c:pt idx="596">
                  <c:v>0.11076000000000001</c:v>
                </c:pt>
                <c:pt idx="597">
                  <c:v>0.11114</c:v>
                </c:pt>
                <c:pt idx="598">
                  <c:v>0.11026999999999999</c:v>
                </c:pt>
                <c:pt idx="599">
                  <c:v>0.10939</c:v>
                </c:pt>
                <c:pt idx="600">
                  <c:v>0.10781</c:v>
                </c:pt>
                <c:pt idx="601">
                  <c:v>0.10678000000000001</c:v>
                </c:pt>
                <c:pt idx="602">
                  <c:v>0.10651999999999999</c:v>
                </c:pt>
                <c:pt idx="603">
                  <c:v>0.10640000000000001</c:v>
                </c:pt>
                <c:pt idx="604">
                  <c:v>0.10580000000000001</c:v>
                </c:pt>
                <c:pt idx="605">
                  <c:v>0.10442</c:v>
                </c:pt>
                <c:pt idx="606">
                  <c:v>0.10407</c:v>
                </c:pt>
                <c:pt idx="607">
                  <c:v>0.10358000000000001</c:v>
                </c:pt>
                <c:pt idx="608">
                  <c:v>0.10331</c:v>
                </c:pt>
                <c:pt idx="609">
                  <c:v>0.10299</c:v>
                </c:pt>
                <c:pt idx="610">
                  <c:v>0.10255</c:v>
                </c:pt>
                <c:pt idx="611">
                  <c:v>0.10147</c:v>
                </c:pt>
                <c:pt idx="612">
                  <c:v>0.10128</c:v>
                </c:pt>
                <c:pt idx="613">
                  <c:v>0.10051</c:v>
                </c:pt>
                <c:pt idx="614">
                  <c:v>0.10053000000000001</c:v>
                </c:pt>
                <c:pt idx="615">
                  <c:v>0.1009</c:v>
                </c:pt>
                <c:pt idx="616">
                  <c:v>0.10163</c:v>
                </c:pt>
                <c:pt idx="617">
                  <c:v>0.1018</c:v>
                </c:pt>
                <c:pt idx="618">
                  <c:v>0.10269</c:v>
                </c:pt>
                <c:pt idx="619">
                  <c:v>0.10337</c:v>
                </c:pt>
                <c:pt idx="620">
                  <c:v>0.10460000000000001</c:v>
                </c:pt>
                <c:pt idx="621">
                  <c:v>0.10554000000000001</c:v>
                </c:pt>
                <c:pt idx="622">
                  <c:v>0.10573</c:v>
                </c:pt>
                <c:pt idx="623">
                  <c:v>0.11127000000000001</c:v>
                </c:pt>
                <c:pt idx="624">
                  <c:v>0.11179</c:v>
                </c:pt>
                <c:pt idx="625">
                  <c:v>0.11211</c:v>
                </c:pt>
                <c:pt idx="626">
                  <c:v>0.11183999999999999</c:v>
                </c:pt>
                <c:pt idx="627">
                  <c:v>0.11135</c:v>
                </c:pt>
                <c:pt idx="628">
                  <c:v>0.11114</c:v>
                </c:pt>
                <c:pt idx="629">
                  <c:v>0.11090999999999999</c:v>
                </c:pt>
                <c:pt idx="630">
                  <c:v>0.11010999999999999</c:v>
                </c:pt>
                <c:pt idx="631">
                  <c:v>0.1099</c:v>
                </c:pt>
                <c:pt idx="632">
                  <c:v>0.10923999999999999</c:v>
                </c:pt>
                <c:pt idx="633">
                  <c:v>0.10888999999999999</c:v>
                </c:pt>
                <c:pt idx="634">
                  <c:v>0.10885</c:v>
                </c:pt>
                <c:pt idx="635">
                  <c:v>0.10884000000000001</c:v>
                </c:pt>
                <c:pt idx="636">
                  <c:v>0.10858000000000001</c:v>
                </c:pt>
                <c:pt idx="637">
                  <c:v>0.10845</c:v>
                </c:pt>
                <c:pt idx="638">
                  <c:v>0.10846</c:v>
                </c:pt>
                <c:pt idx="639">
                  <c:v>0.10893000000000001</c:v>
                </c:pt>
                <c:pt idx="640">
                  <c:v>0.10925000000000001</c:v>
                </c:pt>
                <c:pt idx="641">
                  <c:v>0.10958</c:v>
                </c:pt>
                <c:pt idx="642">
                  <c:v>0.11073000000000001</c:v>
                </c:pt>
                <c:pt idx="643">
                  <c:v>0.11134000000000001</c:v>
                </c:pt>
                <c:pt idx="644">
                  <c:v>0.11156000000000001</c:v>
                </c:pt>
                <c:pt idx="645">
                  <c:v>0.11134000000000001</c:v>
                </c:pt>
                <c:pt idx="646">
                  <c:v>0.11112</c:v>
                </c:pt>
                <c:pt idx="647">
                  <c:v>0.11115999999999999</c:v>
                </c:pt>
                <c:pt idx="648">
                  <c:v>0.11112999999999999</c:v>
                </c:pt>
                <c:pt idx="649">
                  <c:v>0.11119</c:v>
                </c:pt>
                <c:pt idx="650">
                  <c:v>0.11198000000000001</c:v>
                </c:pt>
                <c:pt idx="651">
                  <c:v>0.11262999999999999</c:v>
                </c:pt>
                <c:pt idx="652">
                  <c:v>0.11458</c:v>
                </c:pt>
                <c:pt idx="653">
                  <c:v>0.11467000000000001</c:v>
                </c:pt>
                <c:pt idx="654">
                  <c:v>0.11535000000000001</c:v>
                </c:pt>
                <c:pt idx="655">
                  <c:v>0.11677</c:v>
                </c:pt>
                <c:pt idx="656">
                  <c:v>0.11932000000000001</c:v>
                </c:pt>
                <c:pt idx="657">
                  <c:v>0.12161</c:v>
                </c:pt>
                <c:pt idx="658">
                  <c:v>0.12325</c:v>
                </c:pt>
                <c:pt idx="659">
                  <c:v>0.12428</c:v>
                </c:pt>
                <c:pt idx="660">
                  <c:v>0.12770000000000001</c:v>
                </c:pt>
                <c:pt idx="661">
                  <c:v>0.12870999999999999</c:v>
                </c:pt>
                <c:pt idx="662">
                  <c:v>0.12707000000000002</c:v>
                </c:pt>
                <c:pt idx="663">
                  <c:v>0.12664999999999998</c:v>
                </c:pt>
                <c:pt idx="664">
                  <c:v>0.12655</c:v>
                </c:pt>
                <c:pt idx="665">
                  <c:v>0.12731000000000001</c:v>
                </c:pt>
                <c:pt idx="666">
                  <c:v>0.12762999999999999</c:v>
                </c:pt>
                <c:pt idx="667">
                  <c:v>0.12692000000000001</c:v>
                </c:pt>
                <c:pt idx="668">
                  <c:v>0.12526999999999999</c:v>
                </c:pt>
                <c:pt idx="669">
                  <c:v>0.12393999999999999</c:v>
                </c:pt>
                <c:pt idx="670">
                  <c:v>0.122</c:v>
                </c:pt>
                <c:pt idx="671">
                  <c:v>0.12773000000000001</c:v>
                </c:pt>
                <c:pt idx="672">
                  <c:v>0.12734000000000001</c:v>
                </c:pt>
                <c:pt idx="673">
                  <c:v>0.12570000000000001</c:v>
                </c:pt>
                <c:pt idx="674">
                  <c:v>0.12389</c:v>
                </c:pt>
                <c:pt idx="675">
                  <c:v>0.12311999999999999</c:v>
                </c:pt>
                <c:pt idx="676">
                  <c:v>0.12176999999999999</c:v>
                </c:pt>
                <c:pt idx="677">
                  <c:v>0.12078</c:v>
                </c:pt>
                <c:pt idx="678">
                  <c:v>0.11982</c:v>
                </c:pt>
                <c:pt idx="679">
                  <c:v>0.11912</c:v>
                </c:pt>
                <c:pt idx="680">
                  <c:v>0.11872999999999999</c:v>
                </c:pt>
                <c:pt idx="681">
                  <c:v>0.11856999999999999</c:v>
                </c:pt>
              </c:numCache>
            </c:numRef>
          </c:val>
          <c:smooth val="0"/>
          <c:extLst>
            <c:ext xmlns:c16="http://schemas.microsoft.com/office/drawing/2014/chart" uri="{C3380CC4-5D6E-409C-BE32-E72D297353CC}">
              <c16:uniqueId val="{00000000-EF21-684C-8F47-470F32FBF1FC}"/>
            </c:ext>
          </c:extLst>
        </c:ser>
        <c:ser>
          <c:idx val="1"/>
          <c:order val="1"/>
          <c:tx>
            <c:strRef>
              <c:f>Hoja1!$C$1</c:f>
              <c:strCache>
                <c:ptCount val="1"/>
                <c:pt idx="0">
                  <c:v>Petrobras</c:v>
                </c:pt>
              </c:strCache>
            </c:strRef>
          </c:tx>
          <c:spPr>
            <a:ln w="28575" cap="rnd">
              <a:solidFill>
                <a:schemeClr val="accent2"/>
              </a:solidFill>
              <a:round/>
            </a:ln>
            <a:effectLst/>
          </c:spPr>
          <c:marker>
            <c:symbol val="none"/>
          </c:marker>
          <c:cat>
            <c:numRef>
              <c:f>Hoja1!$A$2:$A$683</c:f>
              <c:numCache>
                <c:formatCode>m/d/yy</c:formatCode>
                <c:ptCount val="682"/>
                <c:pt idx="0">
                  <c:v>44243</c:v>
                </c:pt>
                <c:pt idx="1">
                  <c:v>44244</c:v>
                </c:pt>
                <c:pt idx="2">
                  <c:v>44245</c:v>
                </c:pt>
                <c:pt idx="3">
                  <c:v>44246</c:v>
                </c:pt>
                <c:pt idx="4">
                  <c:v>44249</c:v>
                </c:pt>
                <c:pt idx="5">
                  <c:v>44250</c:v>
                </c:pt>
                <c:pt idx="6">
                  <c:v>44251</c:v>
                </c:pt>
                <c:pt idx="7">
                  <c:v>44252</c:v>
                </c:pt>
                <c:pt idx="8">
                  <c:v>44253</c:v>
                </c:pt>
                <c:pt idx="9">
                  <c:v>44256</c:v>
                </c:pt>
                <c:pt idx="10">
                  <c:v>44257</c:v>
                </c:pt>
                <c:pt idx="11">
                  <c:v>44258</c:v>
                </c:pt>
                <c:pt idx="12">
                  <c:v>44259</c:v>
                </c:pt>
                <c:pt idx="13">
                  <c:v>44260</c:v>
                </c:pt>
                <c:pt idx="14">
                  <c:v>44263</c:v>
                </c:pt>
                <c:pt idx="15">
                  <c:v>44264</c:v>
                </c:pt>
                <c:pt idx="16">
                  <c:v>44265</c:v>
                </c:pt>
                <c:pt idx="17">
                  <c:v>44266</c:v>
                </c:pt>
                <c:pt idx="18">
                  <c:v>44267</c:v>
                </c:pt>
                <c:pt idx="19">
                  <c:v>44270</c:v>
                </c:pt>
                <c:pt idx="20">
                  <c:v>44271</c:v>
                </c:pt>
                <c:pt idx="21">
                  <c:v>44272</c:v>
                </c:pt>
                <c:pt idx="22">
                  <c:v>44273</c:v>
                </c:pt>
                <c:pt idx="23">
                  <c:v>44274</c:v>
                </c:pt>
                <c:pt idx="24">
                  <c:v>44277</c:v>
                </c:pt>
                <c:pt idx="25">
                  <c:v>44278</c:v>
                </c:pt>
                <c:pt idx="26">
                  <c:v>44279</c:v>
                </c:pt>
                <c:pt idx="27">
                  <c:v>44280</c:v>
                </c:pt>
                <c:pt idx="28">
                  <c:v>44281</c:v>
                </c:pt>
                <c:pt idx="29">
                  <c:v>44284</c:v>
                </c:pt>
                <c:pt idx="30">
                  <c:v>44285</c:v>
                </c:pt>
                <c:pt idx="31">
                  <c:v>44286</c:v>
                </c:pt>
                <c:pt idx="32">
                  <c:v>44287</c:v>
                </c:pt>
                <c:pt idx="33">
                  <c:v>44291</c:v>
                </c:pt>
                <c:pt idx="34">
                  <c:v>44292</c:v>
                </c:pt>
                <c:pt idx="35">
                  <c:v>44293</c:v>
                </c:pt>
                <c:pt idx="36">
                  <c:v>44294</c:v>
                </c:pt>
                <c:pt idx="37">
                  <c:v>44295</c:v>
                </c:pt>
                <c:pt idx="38">
                  <c:v>44298</c:v>
                </c:pt>
                <c:pt idx="39">
                  <c:v>44299</c:v>
                </c:pt>
                <c:pt idx="40">
                  <c:v>44300</c:v>
                </c:pt>
                <c:pt idx="41">
                  <c:v>44301</c:v>
                </c:pt>
                <c:pt idx="42">
                  <c:v>44302</c:v>
                </c:pt>
                <c:pt idx="43">
                  <c:v>44305</c:v>
                </c:pt>
                <c:pt idx="44">
                  <c:v>44306</c:v>
                </c:pt>
                <c:pt idx="45">
                  <c:v>44307</c:v>
                </c:pt>
                <c:pt idx="46">
                  <c:v>44308</c:v>
                </c:pt>
                <c:pt idx="47">
                  <c:v>44309</c:v>
                </c:pt>
                <c:pt idx="48">
                  <c:v>44312</c:v>
                </c:pt>
                <c:pt idx="49">
                  <c:v>44313</c:v>
                </c:pt>
                <c:pt idx="50">
                  <c:v>44314</c:v>
                </c:pt>
                <c:pt idx="51">
                  <c:v>44315</c:v>
                </c:pt>
                <c:pt idx="52">
                  <c:v>44316</c:v>
                </c:pt>
                <c:pt idx="53">
                  <c:v>44319</c:v>
                </c:pt>
                <c:pt idx="54">
                  <c:v>44320</c:v>
                </c:pt>
                <c:pt idx="55">
                  <c:v>44321</c:v>
                </c:pt>
                <c:pt idx="56">
                  <c:v>44322</c:v>
                </c:pt>
                <c:pt idx="57">
                  <c:v>44323</c:v>
                </c:pt>
                <c:pt idx="58">
                  <c:v>44326</c:v>
                </c:pt>
                <c:pt idx="59">
                  <c:v>44327</c:v>
                </c:pt>
                <c:pt idx="60">
                  <c:v>44328</c:v>
                </c:pt>
                <c:pt idx="61">
                  <c:v>44329</c:v>
                </c:pt>
                <c:pt idx="62">
                  <c:v>44330</c:v>
                </c:pt>
                <c:pt idx="63">
                  <c:v>44333</c:v>
                </c:pt>
                <c:pt idx="64">
                  <c:v>44334</c:v>
                </c:pt>
                <c:pt idx="65">
                  <c:v>44335</c:v>
                </c:pt>
                <c:pt idx="66">
                  <c:v>44336</c:v>
                </c:pt>
                <c:pt idx="67">
                  <c:v>44337</c:v>
                </c:pt>
                <c:pt idx="68">
                  <c:v>44340</c:v>
                </c:pt>
                <c:pt idx="69">
                  <c:v>44341</c:v>
                </c:pt>
                <c:pt idx="70">
                  <c:v>44342</c:v>
                </c:pt>
                <c:pt idx="71">
                  <c:v>44343</c:v>
                </c:pt>
                <c:pt idx="72">
                  <c:v>44344</c:v>
                </c:pt>
                <c:pt idx="73">
                  <c:v>44348</c:v>
                </c:pt>
                <c:pt idx="74">
                  <c:v>44349</c:v>
                </c:pt>
                <c:pt idx="75">
                  <c:v>44350</c:v>
                </c:pt>
                <c:pt idx="76">
                  <c:v>44351</c:v>
                </c:pt>
                <c:pt idx="77">
                  <c:v>44354</c:v>
                </c:pt>
                <c:pt idx="78">
                  <c:v>44355</c:v>
                </c:pt>
                <c:pt idx="79">
                  <c:v>44356</c:v>
                </c:pt>
                <c:pt idx="80">
                  <c:v>44357</c:v>
                </c:pt>
                <c:pt idx="81">
                  <c:v>44358</c:v>
                </c:pt>
                <c:pt idx="82">
                  <c:v>44361</c:v>
                </c:pt>
                <c:pt idx="83">
                  <c:v>44362</c:v>
                </c:pt>
                <c:pt idx="84">
                  <c:v>44363</c:v>
                </c:pt>
                <c:pt idx="85">
                  <c:v>44364</c:v>
                </c:pt>
                <c:pt idx="86">
                  <c:v>44365</c:v>
                </c:pt>
                <c:pt idx="87">
                  <c:v>44368</c:v>
                </c:pt>
                <c:pt idx="88">
                  <c:v>44369</c:v>
                </c:pt>
                <c:pt idx="89">
                  <c:v>44370</c:v>
                </c:pt>
                <c:pt idx="90">
                  <c:v>44371</c:v>
                </c:pt>
                <c:pt idx="91">
                  <c:v>44372</c:v>
                </c:pt>
                <c:pt idx="92">
                  <c:v>44375</c:v>
                </c:pt>
                <c:pt idx="93">
                  <c:v>44376</c:v>
                </c:pt>
                <c:pt idx="94">
                  <c:v>44377</c:v>
                </c:pt>
                <c:pt idx="95">
                  <c:v>44378</c:v>
                </c:pt>
                <c:pt idx="96">
                  <c:v>44379</c:v>
                </c:pt>
                <c:pt idx="97">
                  <c:v>44383</c:v>
                </c:pt>
                <c:pt idx="98">
                  <c:v>44384</c:v>
                </c:pt>
                <c:pt idx="99">
                  <c:v>44385</c:v>
                </c:pt>
                <c:pt idx="100">
                  <c:v>44386</c:v>
                </c:pt>
                <c:pt idx="101">
                  <c:v>44389</c:v>
                </c:pt>
                <c:pt idx="102">
                  <c:v>44390</c:v>
                </c:pt>
                <c:pt idx="103">
                  <c:v>44391</c:v>
                </c:pt>
                <c:pt idx="104">
                  <c:v>44392</c:v>
                </c:pt>
                <c:pt idx="105">
                  <c:v>44393</c:v>
                </c:pt>
                <c:pt idx="106">
                  <c:v>44396</c:v>
                </c:pt>
                <c:pt idx="107">
                  <c:v>44397</c:v>
                </c:pt>
                <c:pt idx="108">
                  <c:v>44398</c:v>
                </c:pt>
                <c:pt idx="109">
                  <c:v>44399</c:v>
                </c:pt>
                <c:pt idx="110">
                  <c:v>44400</c:v>
                </c:pt>
                <c:pt idx="111">
                  <c:v>44403</c:v>
                </c:pt>
                <c:pt idx="112">
                  <c:v>44404</c:v>
                </c:pt>
                <c:pt idx="113">
                  <c:v>44405</c:v>
                </c:pt>
                <c:pt idx="114">
                  <c:v>44406</c:v>
                </c:pt>
                <c:pt idx="115">
                  <c:v>44407</c:v>
                </c:pt>
                <c:pt idx="116">
                  <c:v>44410</c:v>
                </c:pt>
                <c:pt idx="117">
                  <c:v>44411</c:v>
                </c:pt>
                <c:pt idx="118">
                  <c:v>44412</c:v>
                </c:pt>
                <c:pt idx="119">
                  <c:v>44413</c:v>
                </c:pt>
                <c:pt idx="120">
                  <c:v>44414</c:v>
                </c:pt>
                <c:pt idx="121">
                  <c:v>44417</c:v>
                </c:pt>
                <c:pt idx="122">
                  <c:v>44418</c:v>
                </c:pt>
                <c:pt idx="123">
                  <c:v>44419</c:v>
                </c:pt>
                <c:pt idx="124">
                  <c:v>44420</c:v>
                </c:pt>
                <c:pt idx="125">
                  <c:v>44421</c:v>
                </c:pt>
                <c:pt idx="126">
                  <c:v>44424</c:v>
                </c:pt>
                <c:pt idx="127">
                  <c:v>44425</c:v>
                </c:pt>
                <c:pt idx="128">
                  <c:v>44426</c:v>
                </c:pt>
                <c:pt idx="129">
                  <c:v>44427</c:v>
                </c:pt>
                <c:pt idx="130">
                  <c:v>44428</c:v>
                </c:pt>
                <c:pt idx="131">
                  <c:v>44431</c:v>
                </c:pt>
                <c:pt idx="132">
                  <c:v>44432</c:v>
                </c:pt>
                <c:pt idx="133">
                  <c:v>44433</c:v>
                </c:pt>
                <c:pt idx="134">
                  <c:v>44434</c:v>
                </c:pt>
                <c:pt idx="135">
                  <c:v>44435</c:v>
                </c:pt>
                <c:pt idx="136">
                  <c:v>44438</c:v>
                </c:pt>
                <c:pt idx="137">
                  <c:v>44439</c:v>
                </c:pt>
                <c:pt idx="138">
                  <c:v>44440</c:v>
                </c:pt>
                <c:pt idx="139">
                  <c:v>44441</c:v>
                </c:pt>
                <c:pt idx="140">
                  <c:v>44442</c:v>
                </c:pt>
                <c:pt idx="141">
                  <c:v>44446</c:v>
                </c:pt>
                <c:pt idx="142">
                  <c:v>44447</c:v>
                </c:pt>
                <c:pt idx="143">
                  <c:v>44448</c:v>
                </c:pt>
                <c:pt idx="144">
                  <c:v>44449</c:v>
                </c:pt>
                <c:pt idx="145">
                  <c:v>44452</c:v>
                </c:pt>
                <c:pt idx="146">
                  <c:v>44453</c:v>
                </c:pt>
                <c:pt idx="147">
                  <c:v>44454</c:v>
                </c:pt>
                <c:pt idx="148">
                  <c:v>44455</c:v>
                </c:pt>
                <c:pt idx="149">
                  <c:v>44456</c:v>
                </c:pt>
                <c:pt idx="150">
                  <c:v>44459</c:v>
                </c:pt>
                <c:pt idx="151">
                  <c:v>44460</c:v>
                </c:pt>
                <c:pt idx="152">
                  <c:v>44461</c:v>
                </c:pt>
                <c:pt idx="153">
                  <c:v>44462</c:v>
                </c:pt>
                <c:pt idx="154">
                  <c:v>44463</c:v>
                </c:pt>
                <c:pt idx="155">
                  <c:v>44466</c:v>
                </c:pt>
                <c:pt idx="156">
                  <c:v>44467</c:v>
                </c:pt>
                <c:pt idx="157">
                  <c:v>44468</c:v>
                </c:pt>
                <c:pt idx="158">
                  <c:v>44469</c:v>
                </c:pt>
                <c:pt idx="159">
                  <c:v>44470</c:v>
                </c:pt>
                <c:pt idx="160">
                  <c:v>44473</c:v>
                </c:pt>
                <c:pt idx="161">
                  <c:v>44474</c:v>
                </c:pt>
                <c:pt idx="162">
                  <c:v>44475</c:v>
                </c:pt>
                <c:pt idx="163">
                  <c:v>44476</c:v>
                </c:pt>
                <c:pt idx="164">
                  <c:v>44477</c:v>
                </c:pt>
                <c:pt idx="165">
                  <c:v>44481</c:v>
                </c:pt>
                <c:pt idx="166">
                  <c:v>44482</c:v>
                </c:pt>
                <c:pt idx="167">
                  <c:v>44483</c:v>
                </c:pt>
                <c:pt idx="168">
                  <c:v>44484</c:v>
                </c:pt>
                <c:pt idx="169">
                  <c:v>44487</c:v>
                </c:pt>
                <c:pt idx="170">
                  <c:v>44488</c:v>
                </c:pt>
                <c:pt idx="171">
                  <c:v>44489</c:v>
                </c:pt>
                <c:pt idx="172">
                  <c:v>44490</c:v>
                </c:pt>
                <c:pt idx="173">
                  <c:v>44491</c:v>
                </c:pt>
                <c:pt idx="174">
                  <c:v>44494</c:v>
                </c:pt>
                <c:pt idx="175">
                  <c:v>44495</c:v>
                </c:pt>
                <c:pt idx="176">
                  <c:v>44496</c:v>
                </c:pt>
                <c:pt idx="177">
                  <c:v>44497</c:v>
                </c:pt>
                <c:pt idx="178">
                  <c:v>44498</c:v>
                </c:pt>
                <c:pt idx="179">
                  <c:v>44501</c:v>
                </c:pt>
                <c:pt idx="180">
                  <c:v>44502</c:v>
                </c:pt>
                <c:pt idx="181">
                  <c:v>44503</c:v>
                </c:pt>
                <c:pt idx="182">
                  <c:v>44504</c:v>
                </c:pt>
                <c:pt idx="183">
                  <c:v>44505</c:v>
                </c:pt>
                <c:pt idx="184">
                  <c:v>44508</c:v>
                </c:pt>
                <c:pt idx="185">
                  <c:v>44509</c:v>
                </c:pt>
                <c:pt idx="186">
                  <c:v>44510</c:v>
                </c:pt>
                <c:pt idx="187">
                  <c:v>44512</c:v>
                </c:pt>
                <c:pt idx="188">
                  <c:v>44515</c:v>
                </c:pt>
                <c:pt idx="189">
                  <c:v>44516</c:v>
                </c:pt>
                <c:pt idx="190">
                  <c:v>44517</c:v>
                </c:pt>
                <c:pt idx="191">
                  <c:v>44518</c:v>
                </c:pt>
                <c:pt idx="192">
                  <c:v>44519</c:v>
                </c:pt>
                <c:pt idx="193">
                  <c:v>44522</c:v>
                </c:pt>
                <c:pt idx="194">
                  <c:v>44523</c:v>
                </c:pt>
                <c:pt idx="195">
                  <c:v>44524</c:v>
                </c:pt>
                <c:pt idx="196">
                  <c:v>44526</c:v>
                </c:pt>
                <c:pt idx="197">
                  <c:v>44529</c:v>
                </c:pt>
                <c:pt idx="198">
                  <c:v>44530</c:v>
                </c:pt>
                <c:pt idx="199">
                  <c:v>44531</c:v>
                </c:pt>
                <c:pt idx="200">
                  <c:v>44532</c:v>
                </c:pt>
                <c:pt idx="201">
                  <c:v>44533</c:v>
                </c:pt>
                <c:pt idx="202">
                  <c:v>44536</c:v>
                </c:pt>
                <c:pt idx="203">
                  <c:v>44537</c:v>
                </c:pt>
                <c:pt idx="204">
                  <c:v>44538</c:v>
                </c:pt>
                <c:pt idx="205">
                  <c:v>44539</c:v>
                </c:pt>
                <c:pt idx="206">
                  <c:v>44540</c:v>
                </c:pt>
                <c:pt idx="207">
                  <c:v>44543</c:v>
                </c:pt>
                <c:pt idx="208">
                  <c:v>44544</c:v>
                </c:pt>
                <c:pt idx="209">
                  <c:v>44545</c:v>
                </c:pt>
                <c:pt idx="210">
                  <c:v>44546</c:v>
                </c:pt>
                <c:pt idx="211">
                  <c:v>44547</c:v>
                </c:pt>
                <c:pt idx="212">
                  <c:v>44550</c:v>
                </c:pt>
                <c:pt idx="213">
                  <c:v>44551</c:v>
                </c:pt>
                <c:pt idx="214">
                  <c:v>44552</c:v>
                </c:pt>
                <c:pt idx="215">
                  <c:v>44553</c:v>
                </c:pt>
                <c:pt idx="216">
                  <c:v>44557</c:v>
                </c:pt>
                <c:pt idx="217">
                  <c:v>44558</c:v>
                </c:pt>
                <c:pt idx="218">
                  <c:v>44559</c:v>
                </c:pt>
                <c:pt idx="219">
                  <c:v>44560</c:v>
                </c:pt>
                <c:pt idx="220">
                  <c:v>44561</c:v>
                </c:pt>
                <c:pt idx="221">
                  <c:v>44564</c:v>
                </c:pt>
                <c:pt idx="222">
                  <c:v>44565</c:v>
                </c:pt>
                <c:pt idx="223">
                  <c:v>44566</c:v>
                </c:pt>
                <c:pt idx="224">
                  <c:v>44567</c:v>
                </c:pt>
                <c:pt idx="225">
                  <c:v>44568</c:v>
                </c:pt>
                <c:pt idx="226">
                  <c:v>44571</c:v>
                </c:pt>
                <c:pt idx="227">
                  <c:v>44572</c:v>
                </c:pt>
                <c:pt idx="228">
                  <c:v>44573</c:v>
                </c:pt>
                <c:pt idx="229">
                  <c:v>44574</c:v>
                </c:pt>
                <c:pt idx="230">
                  <c:v>44575</c:v>
                </c:pt>
                <c:pt idx="231">
                  <c:v>44579</c:v>
                </c:pt>
                <c:pt idx="232">
                  <c:v>44580</c:v>
                </c:pt>
                <c:pt idx="233">
                  <c:v>44581</c:v>
                </c:pt>
                <c:pt idx="234">
                  <c:v>44582</c:v>
                </c:pt>
                <c:pt idx="235">
                  <c:v>44585</c:v>
                </c:pt>
                <c:pt idx="236">
                  <c:v>44586</c:v>
                </c:pt>
                <c:pt idx="237">
                  <c:v>44587</c:v>
                </c:pt>
                <c:pt idx="238">
                  <c:v>44588</c:v>
                </c:pt>
                <c:pt idx="239">
                  <c:v>44589</c:v>
                </c:pt>
                <c:pt idx="240">
                  <c:v>44592</c:v>
                </c:pt>
                <c:pt idx="241">
                  <c:v>44593</c:v>
                </c:pt>
                <c:pt idx="242">
                  <c:v>44594</c:v>
                </c:pt>
                <c:pt idx="243">
                  <c:v>44595</c:v>
                </c:pt>
                <c:pt idx="244">
                  <c:v>44596</c:v>
                </c:pt>
                <c:pt idx="245">
                  <c:v>44599</c:v>
                </c:pt>
                <c:pt idx="246">
                  <c:v>44600</c:v>
                </c:pt>
                <c:pt idx="247">
                  <c:v>44601</c:v>
                </c:pt>
                <c:pt idx="248">
                  <c:v>44602</c:v>
                </c:pt>
                <c:pt idx="249">
                  <c:v>44603</c:v>
                </c:pt>
                <c:pt idx="250">
                  <c:v>44606</c:v>
                </c:pt>
                <c:pt idx="251">
                  <c:v>44607</c:v>
                </c:pt>
                <c:pt idx="252">
                  <c:v>44608</c:v>
                </c:pt>
                <c:pt idx="253">
                  <c:v>44609</c:v>
                </c:pt>
                <c:pt idx="254">
                  <c:v>44610</c:v>
                </c:pt>
                <c:pt idx="255">
                  <c:v>44614</c:v>
                </c:pt>
                <c:pt idx="256">
                  <c:v>44615</c:v>
                </c:pt>
                <c:pt idx="257">
                  <c:v>44616</c:v>
                </c:pt>
                <c:pt idx="258">
                  <c:v>44617</c:v>
                </c:pt>
                <c:pt idx="259">
                  <c:v>44620</c:v>
                </c:pt>
                <c:pt idx="260">
                  <c:v>44621</c:v>
                </c:pt>
                <c:pt idx="261">
                  <c:v>44622</c:v>
                </c:pt>
                <c:pt idx="262">
                  <c:v>44623</c:v>
                </c:pt>
                <c:pt idx="263">
                  <c:v>44624</c:v>
                </c:pt>
                <c:pt idx="264">
                  <c:v>44627</c:v>
                </c:pt>
                <c:pt idx="265">
                  <c:v>44628</c:v>
                </c:pt>
                <c:pt idx="266">
                  <c:v>44629</c:v>
                </c:pt>
                <c:pt idx="267">
                  <c:v>44630</c:v>
                </c:pt>
                <c:pt idx="268">
                  <c:v>44631</c:v>
                </c:pt>
                <c:pt idx="269">
                  <c:v>44634</c:v>
                </c:pt>
                <c:pt idx="270">
                  <c:v>44635</c:v>
                </c:pt>
                <c:pt idx="271">
                  <c:v>44636</c:v>
                </c:pt>
                <c:pt idx="272">
                  <c:v>44637</c:v>
                </c:pt>
                <c:pt idx="273">
                  <c:v>44638</c:v>
                </c:pt>
                <c:pt idx="274">
                  <c:v>44641</c:v>
                </c:pt>
                <c:pt idx="275">
                  <c:v>44642</c:v>
                </c:pt>
                <c:pt idx="276">
                  <c:v>44643</c:v>
                </c:pt>
                <c:pt idx="277">
                  <c:v>44644</c:v>
                </c:pt>
                <c:pt idx="278">
                  <c:v>44645</c:v>
                </c:pt>
                <c:pt idx="279">
                  <c:v>44648</c:v>
                </c:pt>
                <c:pt idx="280">
                  <c:v>44649</c:v>
                </c:pt>
                <c:pt idx="281">
                  <c:v>44650</c:v>
                </c:pt>
                <c:pt idx="282">
                  <c:v>44651</c:v>
                </c:pt>
                <c:pt idx="283">
                  <c:v>44652</c:v>
                </c:pt>
                <c:pt idx="284">
                  <c:v>44655</c:v>
                </c:pt>
                <c:pt idx="285">
                  <c:v>44656</c:v>
                </c:pt>
                <c:pt idx="286">
                  <c:v>44657</c:v>
                </c:pt>
                <c:pt idx="287">
                  <c:v>44658</c:v>
                </c:pt>
                <c:pt idx="288">
                  <c:v>44659</c:v>
                </c:pt>
                <c:pt idx="289">
                  <c:v>44662</c:v>
                </c:pt>
                <c:pt idx="290">
                  <c:v>44663</c:v>
                </c:pt>
                <c:pt idx="291">
                  <c:v>44664</c:v>
                </c:pt>
                <c:pt idx="292">
                  <c:v>44665</c:v>
                </c:pt>
                <c:pt idx="293">
                  <c:v>44669</c:v>
                </c:pt>
                <c:pt idx="294">
                  <c:v>44670</c:v>
                </c:pt>
                <c:pt idx="295">
                  <c:v>44671</c:v>
                </c:pt>
                <c:pt idx="296">
                  <c:v>44672</c:v>
                </c:pt>
                <c:pt idx="297">
                  <c:v>44673</c:v>
                </c:pt>
                <c:pt idx="298">
                  <c:v>44676</c:v>
                </c:pt>
                <c:pt idx="299">
                  <c:v>44677</c:v>
                </c:pt>
                <c:pt idx="300">
                  <c:v>44678</c:v>
                </c:pt>
                <c:pt idx="301">
                  <c:v>44679</c:v>
                </c:pt>
                <c:pt idx="302">
                  <c:v>44680</c:v>
                </c:pt>
                <c:pt idx="303">
                  <c:v>44683</c:v>
                </c:pt>
                <c:pt idx="304">
                  <c:v>44684</c:v>
                </c:pt>
                <c:pt idx="305">
                  <c:v>44685</c:v>
                </c:pt>
                <c:pt idx="306">
                  <c:v>44686</c:v>
                </c:pt>
                <c:pt idx="307">
                  <c:v>44687</c:v>
                </c:pt>
                <c:pt idx="308">
                  <c:v>44690</c:v>
                </c:pt>
                <c:pt idx="309">
                  <c:v>44691</c:v>
                </c:pt>
                <c:pt idx="310">
                  <c:v>44692</c:v>
                </c:pt>
                <c:pt idx="311">
                  <c:v>44693</c:v>
                </c:pt>
                <c:pt idx="312">
                  <c:v>44694</c:v>
                </c:pt>
                <c:pt idx="313">
                  <c:v>44697</c:v>
                </c:pt>
                <c:pt idx="314">
                  <c:v>44698</c:v>
                </c:pt>
                <c:pt idx="315">
                  <c:v>44699</c:v>
                </c:pt>
                <c:pt idx="316">
                  <c:v>44700</c:v>
                </c:pt>
                <c:pt idx="317">
                  <c:v>44701</c:v>
                </c:pt>
                <c:pt idx="318">
                  <c:v>44704</c:v>
                </c:pt>
                <c:pt idx="319">
                  <c:v>44705</c:v>
                </c:pt>
                <c:pt idx="320">
                  <c:v>44706</c:v>
                </c:pt>
                <c:pt idx="321">
                  <c:v>44707</c:v>
                </c:pt>
                <c:pt idx="322">
                  <c:v>44708</c:v>
                </c:pt>
                <c:pt idx="323">
                  <c:v>44712</c:v>
                </c:pt>
                <c:pt idx="324">
                  <c:v>44713</c:v>
                </c:pt>
                <c:pt idx="325">
                  <c:v>44714</c:v>
                </c:pt>
                <c:pt idx="326">
                  <c:v>44715</c:v>
                </c:pt>
                <c:pt idx="327">
                  <c:v>44718</c:v>
                </c:pt>
                <c:pt idx="328">
                  <c:v>44719</c:v>
                </c:pt>
                <c:pt idx="329">
                  <c:v>44720</c:v>
                </c:pt>
                <c:pt idx="330">
                  <c:v>44721</c:v>
                </c:pt>
                <c:pt idx="331">
                  <c:v>44722</c:v>
                </c:pt>
                <c:pt idx="332">
                  <c:v>44725</c:v>
                </c:pt>
                <c:pt idx="333">
                  <c:v>44726</c:v>
                </c:pt>
                <c:pt idx="334">
                  <c:v>44727</c:v>
                </c:pt>
                <c:pt idx="335">
                  <c:v>44728</c:v>
                </c:pt>
                <c:pt idx="336">
                  <c:v>44729</c:v>
                </c:pt>
                <c:pt idx="337">
                  <c:v>44733</c:v>
                </c:pt>
                <c:pt idx="338">
                  <c:v>44734</c:v>
                </c:pt>
                <c:pt idx="339">
                  <c:v>44735</c:v>
                </c:pt>
                <c:pt idx="340">
                  <c:v>44736</c:v>
                </c:pt>
                <c:pt idx="341">
                  <c:v>44739</c:v>
                </c:pt>
                <c:pt idx="342">
                  <c:v>44740</c:v>
                </c:pt>
                <c:pt idx="343">
                  <c:v>44741</c:v>
                </c:pt>
                <c:pt idx="344">
                  <c:v>44742</c:v>
                </c:pt>
                <c:pt idx="345">
                  <c:v>44743</c:v>
                </c:pt>
                <c:pt idx="346">
                  <c:v>44747</c:v>
                </c:pt>
                <c:pt idx="347">
                  <c:v>44748</c:v>
                </c:pt>
                <c:pt idx="348">
                  <c:v>44749</c:v>
                </c:pt>
                <c:pt idx="349">
                  <c:v>44750</c:v>
                </c:pt>
                <c:pt idx="350">
                  <c:v>44753</c:v>
                </c:pt>
                <c:pt idx="351">
                  <c:v>44754</c:v>
                </c:pt>
                <c:pt idx="352">
                  <c:v>44755</c:v>
                </c:pt>
                <c:pt idx="353">
                  <c:v>44756</c:v>
                </c:pt>
                <c:pt idx="354">
                  <c:v>44757</c:v>
                </c:pt>
                <c:pt idx="355">
                  <c:v>44760</c:v>
                </c:pt>
                <c:pt idx="356">
                  <c:v>44761</c:v>
                </c:pt>
                <c:pt idx="357">
                  <c:v>44762</c:v>
                </c:pt>
                <c:pt idx="358">
                  <c:v>44763</c:v>
                </c:pt>
                <c:pt idx="359">
                  <c:v>44764</c:v>
                </c:pt>
                <c:pt idx="360">
                  <c:v>44767</c:v>
                </c:pt>
                <c:pt idx="361">
                  <c:v>44768</c:v>
                </c:pt>
                <c:pt idx="362">
                  <c:v>44769</c:v>
                </c:pt>
                <c:pt idx="363">
                  <c:v>44770</c:v>
                </c:pt>
                <c:pt idx="364">
                  <c:v>44771</c:v>
                </c:pt>
                <c:pt idx="365">
                  <c:v>44774</c:v>
                </c:pt>
                <c:pt idx="366">
                  <c:v>44775</c:v>
                </c:pt>
                <c:pt idx="367">
                  <c:v>44776</c:v>
                </c:pt>
                <c:pt idx="368">
                  <c:v>44777</c:v>
                </c:pt>
                <c:pt idx="369">
                  <c:v>44778</c:v>
                </c:pt>
                <c:pt idx="370">
                  <c:v>44781</c:v>
                </c:pt>
                <c:pt idx="371">
                  <c:v>44782</c:v>
                </c:pt>
                <c:pt idx="372">
                  <c:v>44783</c:v>
                </c:pt>
                <c:pt idx="373">
                  <c:v>44784</c:v>
                </c:pt>
                <c:pt idx="374">
                  <c:v>44785</c:v>
                </c:pt>
                <c:pt idx="375">
                  <c:v>44788</c:v>
                </c:pt>
                <c:pt idx="376">
                  <c:v>44789</c:v>
                </c:pt>
                <c:pt idx="377">
                  <c:v>44790</c:v>
                </c:pt>
                <c:pt idx="378">
                  <c:v>44791</c:v>
                </c:pt>
                <c:pt idx="379">
                  <c:v>44792</c:v>
                </c:pt>
                <c:pt idx="380">
                  <c:v>44795</c:v>
                </c:pt>
                <c:pt idx="381">
                  <c:v>44796</c:v>
                </c:pt>
                <c:pt idx="382">
                  <c:v>44797</c:v>
                </c:pt>
                <c:pt idx="383">
                  <c:v>44798</c:v>
                </c:pt>
                <c:pt idx="384">
                  <c:v>44799</c:v>
                </c:pt>
                <c:pt idx="385">
                  <c:v>44802</c:v>
                </c:pt>
                <c:pt idx="386">
                  <c:v>44803</c:v>
                </c:pt>
                <c:pt idx="387">
                  <c:v>44804</c:v>
                </c:pt>
                <c:pt idx="388">
                  <c:v>44805</c:v>
                </c:pt>
                <c:pt idx="389">
                  <c:v>44806</c:v>
                </c:pt>
                <c:pt idx="390">
                  <c:v>44810</c:v>
                </c:pt>
                <c:pt idx="391">
                  <c:v>44811</c:v>
                </c:pt>
                <c:pt idx="392">
                  <c:v>44812</c:v>
                </c:pt>
                <c:pt idx="393">
                  <c:v>44813</c:v>
                </c:pt>
                <c:pt idx="394">
                  <c:v>44816</c:v>
                </c:pt>
                <c:pt idx="395">
                  <c:v>44817</c:v>
                </c:pt>
                <c:pt idx="396">
                  <c:v>44818</c:v>
                </c:pt>
                <c:pt idx="397">
                  <c:v>44819</c:v>
                </c:pt>
                <c:pt idx="398">
                  <c:v>44820</c:v>
                </c:pt>
                <c:pt idx="399">
                  <c:v>44823</c:v>
                </c:pt>
                <c:pt idx="400">
                  <c:v>44824</c:v>
                </c:pt>
                <c:pt idx="401">
                  <c:v>44825</c:v>
                </c:pt>
                <c:pt idx="402">
                  <c:v>44826</c:v>
                </c:pt>
                <c:pt idx="403">
                  <c:v>44827</c:v>
                </c:pt>
                <c:pt idx="404">
                  <c:v>44830</c:v>
                </c:pt>
                <c:pt idx="405">
                  <c:v>44831</c:v>
                </c:pt>
                <c:pt idx="406">
                  <c:v>44832</c:v>
                </c:pt>
                <c:pt idx="407">
                  <c:v>44833</c:v>
                </c:pt>
                <c:pt idx="408">
                  <c:v>44834</c:v>
                </c:pt>
                <c:pt idx="409">
                  <c:v>44837</c:v>
                </c:pt>
                <c:pt idx="410">
                  <c:v>44838</c:v>
                </c:pt>
                <c:pt idx="411">
                  <c:v>44839</c:v>
                </c:pt>
                <c:pt idx="412">
                  <c:v>44840</c:v>
                </c:pt>
                <c:pt idx="413">
                  <c:v>44841</c:v>
                </c:pt>
                <c:pt idx="414">
                  <c:v>44845</c:v>
                </c:pt>
                <c:pt idx="415">
                  <c:v>44846</c:v>
                </c:pt>
                <c:pt idx="416">
                  <c:v>44847</c:v>
                </c:pt>
                <c:pt idx="417">
                  <c:v>44848</c:v>
                </c:pt>
                <c:pt idx="418">
                  <c:v>44851</c:v>
                </c:pt>
                <c:pt idx="419">
                  <c:v>44852</c:v>
                </c:pt>
                <c:pt idx="420">
                  <c:v>44853</c:v>
                </c:pt>
                <c:pt idx="421">
                  <c:v>44854</c:v>
                </c:pt>
                <c:pt idx="422">
                  <c:v>44855</c:v>
                </c:pt>
                <c:pt idx="423">
                  <c:v>44858</c:v>
                </c:pt>
                <c:pt idx="424">
                  <c:v>44859</c:v>
                </c:pt>
                <c:pt idx="425">
                  <c:v>44860</c:v>
                </c:pt>
                <c:pt idx="426">
                  <c:v>44861</c:v>
                </c:pt>
                <c:pt idx="427">
                  <c:v>44862</c:v>
                </c:pt>
                <c:pt idx="428">
                  <c:v>44865</c:v>
                </c:pt>
                <c:pt idx="429">
                  <c:v>44866</c:v>
                </c:pt>
                <c:pt idx="430">
                  <c:v>44867</c:v>
                </c:pt>
                <c:pt idx="431">
                  <c:v>44868</c:v>
                </c:pt>
                <c:pt idx="432">
                  <c:v>44869</c:v>
                </c:pt>
                <c:pt idx="433">
                  <c:v>44872</c:v>
                </c:pt>
                <c:pt idx="434">
                  <c:v>44873</c:v>
                </c:pt>
                <c:pt idx="435">
                  <c:v>44874</c:v>
                </c:pt>
                <c:pt idx="436">
                  <c:v>44875</c:v>
                </c:pt>
                <c:pt idx="437">
                  <c:v>44879</c:v>
                </c:pt>
                <c:pt idx="438">
                  <c:v>44880</c:v>
                </c:pt>
                <c:pt idx="439">
                  <c:v>44881</c:v>
                </c:pt>
                <c:pt idx="440">
                  <c:v>44882</c:v>
                </c:pt>
                <c:pt idx="441">
                  <c:v>44883</c:v>
                </c:pt>
                <c:pt idx="442">
                  <c:v>44886</c:v>
                </c:pt>
                <c:pt idx="443">
                  <c:v>44887</c:v>
                </c:pt>
                <c:pt idx="444">
                  <c:v>44888</c:v>
                </c:pt>
                <c:pt idx="445">
                  <c:v>44890</c:v>
                </c:pt>
                <c:pt idx="446">
                  <c:v>44893</c:v>
                </c:pt>
                <c:pt idx="447">
                  <c:v>44894</c:v>
                </c:pt>
                <c:pt idx="448">
                  <c:v>44895</c:v>
                </c:pt>
                <c:pt idx="449">
                  <c:v>44896</c:v>
                </c:pt>
                <c:pt idx="450">
                  <c:v>44897</c:v>
                </c:pt>
                <c:pt idx="451">
                  <c:v>44900</c:v>
                </c:pt>
                <c:pt idx="452">
                  <c:v>44901</c:v>
                </c:pt>
                <c:pt idx="453">
                  <c:v>44902</c:v>
                </c:pt>
                <c:pt idx="454">
                  <c:v>44903</c:v>
                </c:pt>
                <c:pt idx="455">
                  <c:v>44904</c:v>
                </c:pt>
                <c:pt idx="456">
                  <c:v>44907</c:v>
                </c:pt>
                <c:pt idx="457">
                  <c:v>44908</c:v>
                </c:pt>
                <c:pt idx="458">
                  <c:v>44909</c:v>
                </c:pt>
                <c:pt idx="459">
                  <c:v>44910</c:v>
                </c:pt>
                <c:pt idx="460">
                  <c:v>44911</c:v>
                </c:pt>
                <c:pt idx="461">
                  <c:v>44914</c:v>
                </c:pt>
                <c:pt idx="462">
                  <c:v>44915</c:v>
                </c:pt>
                <c:pt idx="463">
                  <c:v>44916</c:v>
                </c:pt>
                <c:pt idx="464">
                  <c:v>44917</c:v>
                </c:pt>
                <c:pt idx="465">
                  <c:v>44918</c:v>
                </c:pt>
                <c:pt idx="466">
                  <c:v>44922</c:v>
                </c:pt>
                <c:pt idx="467">
                  <c:v>44923</c:v>
                </c:pt>
                <c:pt idx="468">
                  <c:v>44924</c:v>
                </c:pt>
                <c:pt idx="469">
                  <c:v>44925</c:v>
                </c:pt>
                <c:pt idx="470">
                  <c:v>44929</c:v>
                </c:pt>
                <c:pt idx="471">
                  <c:v>44930</c:v>
                </c:pt>
                <c:pt idx="472">
                  <c:v>44931</c:v>
                </c:pt>
                <c:pt idx="473">
                  <c:v>44932</c:v>
                </c:pt>
                <c:pt idx="474">
                  <c:v>44935</c:v>
                </c:pt>
                <c:pt idx="475">
                  <c:v>44936</c:v>
                </c:pt>
                <c:pt idx="476">
                  <c:v>44937</c:v>
                </c:pt>
                <c:pt idx="477">
                  <c:v>44938</c:v>
                </c:pt>
                <c:pt idx="478">
                  <c:v>44939</c:v>
                </c:pt>
                <c:pt idx="479">
                  <c:v>44943</c:v>
                </c:pt>
                <c:pt idx="480">
                  <c:v>44944</c:v>
                </c:pt>
                <c:pt idx="481">
                  <c:v>44945</c:v>
                </c:pt>
                <c:pt idx="482">
                  <c:v>44946</c:v>
                </c:pt>
                <c:pt idx="483">
                  <c:v>44949</c:v>
                </c:pt>
                <c:pt idx="484">
                  <c:v>44950</c:v>
                </c:pt>
                <c:pt idx="485">
                  <c:v>44951</c:v>
                </c:pt>
                <c:pt idx="486">
                  <c:v>44952</c:v>
                </c:pt>
                <c:pt idx="487">
                  <c:v>44953</c:v>
                </c:pt>
                <c:pt idx="488">
                  <c:v>44956</c:v>
                </c:pt>
                <c:pt idx="489">
                  <c:v>44957</c:v>
                </c:pt>
                <c:pt idx="490">
                  <c:v>44958</c:v>
                </c:pt>
                <c:pt idx="491">
                  <c:v>44959</c:v>
                </c:pt>
                <c:pt idx="492">
                  <c:v>44960</c:v>
                </c:pt>
                <c:pt idx="493">
                  <c:v>44963</c:v>
                </c:pt>
                <c:pt idx="494">
                  <c:v>44964</c:v>
                </c:pt>
                <c:pt idx="495">
                  <c:v>44965</c:v>
                </c:pt>
                <c:pt idx="496">
                  <c:v>44966</c:v>
                </c:pt>
                <c:pt idx="497">
                  <c:v>44967</c:v>
                </c:pt>
                <c:pt idx="498">
                  <c:v>44970</c:v>
                </c:pt>
                <c:pt idx="499">
                  <c:v>44971</c:v>
                </c:pt>
                <c:pt idx="500">
                  <c:v>44972</c:v>
                </c:pt>
                <c:pt idx="501">
                  <c:v>44973</c:v>
                </c:pt>
                <c:pt idx="502">
                  <c:v>44974</c:v>
                </c:pt>
                <c:pt idx="503">
                  <c:v>44978</c:v>
                </c:pt>
                <c:pt idx="504">
                  <c:v>44979</c:v>
                </c:pt>
                <c:pt idx="505">
                  <c:v>44980</c:v>
                </c:pt>
                <c:pt idx="506">
                  <c:v>44981</c:v>
                </c:pt>
                <c:pt idx="507">
                  <c:v>44984</c:v>
                </c:pt>
                <c:pt idx="508">
                  <c:v>44985</c:v>
                </c:pt>
                <c:pt idx="509">
                  <c:v>44986</c:v>
                </c:pt>
                <c:pt idx="510">
                  <c:v>44987</c:v>
                </c:pt>
                <c:pt idx="511">
                  <c:v>44988</c:v>
                </c:pt>
                <c:pt idx="512">
                  <c:v>44991</c:v>
                </c:pt>
                <c:pt idx="513">
                  <c:v>44992</c:v>
                </c:pt>
                <c:pt idx="514">
                  <c:v>44993</c:v>
                </c:pt>
                <c:pt idx="515">
                  <c:v>44994</c:v>
                </c:pt>
                <c:pt idx="516">
                  <c:v>44995</c:v>
                </c:pt>
                <c:pt idx="517">
                  <c:v>44998</c:v>
                </c:pt>
                <c:pt idx="518">
                  <c:v>44999</c:v>
                </c:pt>
                <c:pt idx="519">
                  <c:v>45000</c:v>
                </c:pt>
                <c:pt idx="520">
                  <c:v>45001</c:v>
                </c:pt>
                <c:pt idx="521">
                  <c:v>45002</c:v>
                </c:pt>
                <c:pt idx="522">
                  <c:v>45005</c:v>
                </c:pt>
                <c:pt idx="523">
                  <c:v>45006</c:v>
                </c:pt>
                <c:pt idx="524">
                  <c:v>45007</c:v>
                </c:pt>
                <c:pt idx="525">
                  <c:v>45008</c:v>
                </c:pt>
                <c:pt idx="526">
                  <c:v>45009</c:v>
                </c:pt>
                <c:pt idx="527">
                  <c:v>45012</c:v>
                </c:pt>
                <c:pt idx="528">
                  <c:v>45013</c:v>
                </c:pt>
                <c:pt idx="529">
                  <c:v>45014</c:v>
                </c:pt>
                <c:pt idx="530">
                  <c:v>45015</c:v>
                </c:pt>
                <c:pt idx="531">
                  <c:v>45016</c:v>
                </c:pt>
                <c:pt idx="532">
                  <c:v>45019</c:v>
                </c:pt>
                <c:pt idx="533">
                  <c:v>45020</c:v>
                </c:pt>
                <c:pt idx="534">
                  <c:v>45021</c:v>
                </c:pt>
                <c:pt idx="535">
                  <c:v>45022</c:v>
                </c:pt>
                <c:pt idx="536">
                  <c:v>45026</c:v>
                </c:pt>
                <c:pt idx="537">
                  <c:v>45027</c:v>
                </c:pt>
                <c:pt idx="538">
                  <c:v>45028</c:v>
                </c:pt>
                <c:pt idx="539">
                  <c:v>45029</c:v>
                </c:pt>
                <c:pt idx="540">
                  <c:v>45030</c:v>
                </c:pt>
                <c:pt idx="541">
                  <c:v>45033</c:v>
                </c:pt>
                <c:pt idx="542">
                  <c:v>45034</c:v>
                </c:pt>
                <c:pt idx="543">
                  <c:v>45035</c:v>
                </c:pt>
                <c:pt idx="544">
                  <c:v>45036</c:v>
                </c:pt>
                <c:pt idx="545">
                  <c:v>45037</c:v>
                </c:pt>
                <c:pt idx="546">
                  <c:v>45040</c:v>
                </c:pt>
                <c:pt idx="547">
                  <c:v>45041</c:v>
                </c:pt>
                <c:pt idx="548">
                  <c:v>45042</c:v>
                </c:pt>
                <c:pt idx="549">
                  <c:v>45043</c:v>
                </c:pt>
                <c:pt idx="550">
                  <c:v>45044</c:v>
                </c:pt>
                <c:pt idx="551">
                  <c:v>45047</c:v>
                </c:pt>
                <c:pt idx="552">
                  <c:v>45048</c:v>
                </c:pt>
                <c:pt idx="553">
                  <c:v>45049</c:v>
                </c:pt>
                <c:pt idx="554">
                  <c:v>45050</c:v>
                </c:pt>
                <c:pt idx="555">
                  <c:v>45051</c:v>
                </c:pt>
                <c:pt idx="556">
                  <c:v>45054</c:v>
                </c:pt>
                <c:pt idx="557">
                  <c:v>45055</c:v>
                </c:pt>
                <c:pt idx="558">
                  <c:v>45056</c:v>
                </c:pt>
                <c:pt idx="559">
                  <c:v>45057</c:v>
                </c:pt>
                <c:pt idx="560">
                  <c:v>45058</c:v>
                </c:pt>
                <c:pt idx="561">
                  <c:v>45061</c:v>
                </c:pt>
                <c:pt idx="562">
                  <c:v>45062</c:v>
                </c:pt>
                <c:pt idx="563">
                  <c:v>45063</c:v>
                </c:pt>
                <c:pt idx="564">
                  <c:v>45064</c:v>
                </c:pt>
                <c:pt idx="565">
                  <c:v>45065</c:v>
                </c:pt>
                <c:pt idx="566">
                  <c:v>45068</c:v>
                </c:pt>
                <c:pt idx="567">
                  <c:v>45069</c:v>
                </c:pt>
                <c:pt idx="568">
                  <c:v>45070</c:v>
                </c:pt>
                <c:pt idx="569">
                  <c:v>45071</c:v>
                </c:pt>
                <c:pt idx="570">
                  <c:v>45072</c:v>
                </c:pt>
                <c:pt idx="571">
                  <c:v>45076</c:v>
                </c:pt>
                <c:pt idx="572">
                  <c:v>45077</c:v>
                </c:pt>
                <c:pt idx="573">
                  <c:v>45078</c:v>
                </c:pt>
                <c:pt idx="574">
                  <c:v>45079</c:v>
                </c:pt>
                <c:pt idx="575">
                  <c:v>45082</c:v>
                </c:pt>
                <c:pt idx="576">
                  <c:v>45083</c:v>
                </c:pt>
                <c:pt idx="577">
                  <c:v>45084</c:v>
                </c:pt>
                <c:pt idx="578">
                  <c:v>45085</c:v>
                </c:pt>
                <c:pt idx="579">
                  <c:v>45086</c:v>
                </c:pt>
                <c:pt idx="580">
                  <c:v>45089</c:v>
                </c:pt>
                <c:pt idx="581">
                  <c:v>45090</c:v>
                </c:pt>
                <c:pt idx="582">
                  <c:v>45091</c:v>
                </c:pt>
                <c:pt idx="583">
                  <c:v>45092</c:v>
                </c:pt>
                <c:pt idx="584">
                  <c:v>45093</c:v>
                </c:pt>
                <c:pt idx="585">
                  <c:v>45097</c:v>
                </c:pt>
                <c:pt idx="586">
                  <c:v>45098</c:v>
                </c:pt>
                <c:pt idx="587">
                  <c:v>45099</c:v>
                </c:pt>
                <c:pt idx="588">
                  <c:v>45100</c:v>
                </c:pt>
                <c:pt idx="589">
                  <c:v>45103</c:v>
                </c:pt>
                <c:pt idx="590">
                  <c:v>45104</c:v>
                </c:pt>
                <c:pt idx="591">
                  <c:v>45105</c:v>
                </c:pt>
                <c:pt idx="592">
                  <c:v>45106</c:v>
                </c:pt>
                <c:pt idx="593">
                  <c:v>45107</c:v>
                </c:pt>
                <c:pt idx="594">
                  <c:v>45110</c:v>
                </c:pt>
                <c:pt idx="595">
                  <c:v>45112</c:v>
                </c:pt>
                <c:pt idx="596">
                  <c:v>45113</c:v>
                </c:pt>
                <c:pt idx="597">
                  <c:v>45114</c:v>
                </c:pt>
                <c:pt idx="598">
                  <c:v>45117</c:v>
                </c:pt>
                <c:pt idx="599">
                  <c:v>45118</c:v>
                </c:pt>
                <c:pt idx="600">
                  <c:v>45119</c:v>
                </c:pt>
                <c:pt idx="601">
                  <c:v>45120</c:v>
                </c:pt>
                <c:pt idx="602">
                  <c:v>45121</c:v>
                </c:pt>
                <c:pt idx="603">
                  <c:v>45124</c:v>
                </c:pt>
                <c:pt idx="604">
                  <c:v>45125</c:v>
                </c:pt>
                <c:pt idx="605">
                  <c:v>45126</c:v>
                </c:pt>
                <c:pt idx="606">
                  <c:v>45127</c:v>
                </c:pt>
                <c:pt idx="607">
                  <c:v>45128</c:v>
                </c:pt>
                <c:pt idx="608">
                  <c:v>45131</c:v>
                </c:pt>
                <c:pt idx="609">
                  <c:v>45132</c:v>
                </c:pt>
                <c:pt idx="610">
                  <c:v>45133</c:v>
                </c:pt>
                <c:pt idx="611">
                  <c:v>45134</c:v>
                </c:pt>
                <c:pt idx="612">
                  <c:v>45135</c:v>
                </c:pt>
                <c:pt idx="613">
                  <c:v>45138</c:v>
                </c:pt>
                <c:pt idx="614">
                  <c:v>45139</c:v>
                </c:pt>
                <c:pt idx="615">
                  <c:v>45140</c:v>
                </c:pt>
                <c:pt idx="616">
                  <c:v>45141</c:v>
                </c:pt>
                <c:pt idx="617">
                  <c:v>45142</c:v>
                </c:pt>
                <c:pt idx="618">
                  <c:v>45145</c:v>
                </c:pt>
                <c:pt idx="619">
                  <c:v>45146</c:v>
                </c:pt>
                <c:pt idx="620">
                  <c:v>45147</c:v>
                </c:pt>
                <c:pt idx="621">
                  <c:v>45148</c:v>
                </c:pt>
                <c:pt idx="622">
                  <c:v>45149</c:v>
                </c:pt>
                <c:pt idx="623">
                  <c:v>45152</c:v>
                </c:pt>
                <c:pt idx="624">
                  <c:v>45153</c:v>
                </c:pt>
                <c:pt idx="625">
                  <c:v>45154</c:v>
                </c:pt>
                <c:pt idx="626">
                  <c:v>45155</c:v>
                </c:pt>
                <c:pt idx="627">
                  <c:v>45156</c:v>
                </c:pt>
                <c:pt idx="628">
                  <c:v>45159</c:v>
                </c:pt>
                <c:pt idx="629">
                  <c:v>45160</c:v>
                </c:pt>
                <c:pt idx="630">
                  <c:v>45161</c:v>
                </c:pt>
                <c:pt idx="631">
                  <c:v>45162</c:v>
                </c:pt>
                <c:pt idx="632">
                  <c:v>45163</c:v>
                </c:pt>
                <c:pt idx="633">
                  <c:v>45166</c:v>
                </c:pt>
                <c:pt idx="634">
                  <c:v>45167</c:v>
                </c:pt>
                <c:pt idx="635">
                  <c:v>45168</c:v>
                </c:pt>
                <c:pt idx="636">
                  <c:v>45169</c:v>
                </c:pt>
                <c:pt idx="637">
                  <c:v>45170</c:v>
                </c:pt>
                <c:pt idx="638">
                  <c:v>45174</c:v>
                </c:pt>
                <c:pt idx="639">
                  <c:v>45175</c:v>
                </c:pt>
                <c:pt idx="640">
                  <c:v>45176</c:v>
                </c:pt>
                <c:pt idx="641">
                  <c:v>45177</c:v>
                </c:pt>
                <c:pt idx="642">
                  <c:v>45180</c:v>
                </c:pt>
                <c:pt idx="643">
                  <c:v>45181</c:v>
                </c:pt>
                <c:pt idx="644">
                  <c:v>45182</c:v>
                </c:pt>
                <c:pt idx="645">
                  <c:v>45183</c:v>
                </c:pt>
                <c:pt idx="646">
                  <c:v>45184</c:v>
                </c:pt>
                <c:pt idx="647">
                  <c:v>45187</c:v>
                </c:pt>
                <c:pt idx="648">
                  <c:v>45188</c:v>
                </c:pt>
                <c:pt idx="649">
                  <c:v>45189</c:v>
                </c:pt>
                <c:pt idx="650">
                  <c:v>45190</c:v>
                </c:pt>
                <c:pt idx="651">
                  <c:v>45191</c:v>
                </c:pt>
                <c:pt idx="652">
                  <c:v>45194</c:v>
                </c:pt>
                <c:pt idx="653">
                  <c:v>45195</c:v>
                </c:pt>
                <c:pt idx="654">
                  <c:v>45196</c:v>
                </c:pt>
                <c:pt idx="655">
                  <c:v>45197</c:v>
                </c:pt>
                <c:pt idx="656">
                  <c:v>45198</c:v>
                </c:pt>
                <c:pt idx="657">
                  <c:v>45201</c:v>
                </c:pt>
                <c:pt idx="658">
                  <c:v>45202</c:v>
                </c:pt>
                <c:pt idx="659">
                  <c:v>45203</c:v>
                </c:pt>
                <c:pt idx="660">
                  <c:v>45204</c:v>
                </c:pt>
                <c:pt idx="661">
                  <c:v>45205</c:v>
                </c:pt>
                <c:pt idx="662">
                  <c:v>45209</c:v>
                </c:pt>
                <c:pt idx="663">
                  <c:v>45210</c:v>
                </c:pt>
                <c:pt idx="664">
                  <c:v>45211</c:v>
                </c:pt>
                <c:pt idx="665">
                  <c:v>45212</c:v>
                </c:pt>
                <c:pt idx="666">
                  <c:v>45215</c:v>
                </c:pt>
                <c:pt idx="667">
                  <c:v>45216</c:v>
                </c:pt>
                <c:pt idx="668">
                  <c:v>45217</c:v>
                </c:pt>
                <c:pt idx="669">
                  <c:v>45218</c:v>
                </c:pt>
                <c:pt idx="670">
                  <c:v>45219</c:v>
                </c:pt>
                <c:pt idx="671">
                  <c:v>45222</c:v>
                </c:pt>
                <c:pt idx="672">
                  <c:v>45223</c:v>
                </c:pt>
                <c:pt idx="673">
                  <c:v>45224</c:v>
                </c:pt>
                <c:pt idx="674">
                  <c:v>45225</c:v>
                </c:pt>
                <c:pt idx="675">
                  <c:v>45226</c:v>
                </c:pt>
                <c:pt idx="676">
                  <c:v>45229</c:v>
                </c:pt>
                <c:pt idx="677">
                  <c:v>45230</c:v>
                </c:pt>
                <c:pt idx="678">
                  <c:v>45231</c:v>
                </c:pt>
                <c:pt idx="679">
                  <c:v>45232</c:v>
                </c:pt>
                <c:pt idx="680">
                  <c:v>45233</c:v>
                </c:pt>
                <c:pt idx="681">
                  <c:v>45236</c:v>
                </c:pt>
              </c:numCache>
            </c:numRef>
          </c:cat>
          <c:val>
            <c:numRef>
              <c:f>Hoja1!$C$2:$C$683</c:f>
              <c:numCache>
                <c:formatCode>General</c:formatCode>
                <c:ptCount val="682"/>
                <c:pt idx="0">
                  <c:v>4.0490000000000005E-2</c:v>
                </c:pt>
                <c:pt idx="1">
                  <c:v>4.2060000000000007E-2</c:v>
                </c:pt>
                <c:pt idx="2">
                  <c:v>4.1599999999999998E-2</c:v>
                </c:pt>
                <c:pt idx="3">
                  <c:v>4.3189999999999999E-2</c:v>
                </c:pt>
                <c:pt idx="4">
                  <c:v>4.6239999999999996E-2</c:v>
                </c:pt>
                <c:pt idx="5">
                  <c:v>4.4809999999999996E-2</c:v>
                </c:pt>
                <c:pt idx="6">
                  <c:v>4.4069999999999998E-2</c:v>
                </c:pt>
                <c:pt idx="7">
                  <c:v>4.5149999999999996E-2</c:v>
                </c:pt>
                <c:pt idx="8">
                  <c:v>4.5789999999999997E-2</c:v>
                </c:pt>
                <c:pt idx="9">
                  <c:v>4.5380000000000004E-2</c:v>
                </c:pt>
                <c:pt idx="10">
                  <c:v>4.5700000000000005E-2</c:v>
                </c:pt>
                <c:pt idx="11">
                  <c:v>4.6639999999999994E-2</c:v>
                </c:pt>
                <c:pt idx="12">
                  <c:v>4.5670000000000002E-2</c:v>
                </c:pt>
                <c:pt idx="13">
                  <c:v>4.7199999999999999E-2</c:v>
                </c:pt>
                <c:pt idx="14">
                  <c:v>4.8099999999999997E-2</c:v>
                </c:pt>
                <c:pt idx="15">
                  <c:v>4.9169999999999998E-2</c:v>
                </c:pt>
                <c:pt idx="16">
                  <c:v>4.845E-2</c:v>
                </c:pt>
                <c:pt idx="17">
                  <c:v>4.7300000000000002E-2</c:v>
                </c:pt>
                <c:pt idx="18">
                  <c:v>4.7729999999999995E-2</c:v>
                </c:pt>
                <c:pt idx="19">
                  <c:v>4.7809999999999998E-2</c:v>
                </c:pt>
                <c:pt idx="20">
                  <c:v>4.7489999999999997E-2</c:v>
                </c:pt>
                <c:pt idx="21">
                  <c:v>4.8300000000000003E-2</c:v>
                </c:pt>
                <c:pt idx="22">
                  <c:v>4.7869999999999996E-2</c:v>
                </c:pt>
                <c:pt idx="23">
                  <c:v>4.7070000000000001E-2</c:v>
                </c:pt>
                <c:pt idx="24">
                  <c:v>4.6790000000000005E-2</c:v>
                </c:pt>
                <c:pt idx="25">
                  <c:v>4.6809999999999997E-2</c:v>
                </c:pt>
                <c:pt idx="26">
                  <c:v>4.7439999999999996E-2</c:v>
                </c:pt>
                <c:pt idx="27">
                  <c:v>4.8649999999999999E-2</c:v>
                </c:pt>
                <c:pt idx="28">
                  <c:v>4.9050000000000003E-2</c:v>
                </c:pt>
                <c:pt idx="29">
                  <c:v>4.9610000000000001E-2</c:v>
                </c:pt>
                <c:pt idx="30">
                  <c:v>5.0279999999999998E-2</c:v>
                </c:pt>
                <c:pt idx="31">
                  <c:v>4.8579999999999998E-2</c:v>
                </c:pt>
                <c:pt idx="32">
                  <c:v>4.7980000000000002E-2</c:v>
                </c:pt>
                <c:pt idx="33">
                  <c:v>4.8230000000000002E-2</c:v>
                </c:pt>
                <c:pt idx="34">
                  <c:v>4.7960000000000003E-2</c:v>
                </c:pt>
                <c:pt idx="35">
                  <c:v>4.7809999999999998E-2</c:v>
                </c:pt>
                <c:pt idx="36">
                  <c:v>4.7640000000000002E-2</c:v>
                </c:pt>
                <c:pt idx="37">
                  <c:v>4.7E-2</c:v>
                </c:pt>
                <c:pt idx="38">
                  <c:v>4.7030000000000002E-2</c:v>
                </c:pt>
                <c:pt idx="39">
                  <c:v>4.7050000000000002E-2</c:v>
                </c:pt>
                <c:pt idx="40">
                  <c:v>4.6620000000000002E-2</c:v>
                </c:pt>
                <c:pt idx="41">
                  <c:v>4.5730000000000007E-2</c:v>
                </c:pt>
                <c:pt idx="42">
                  <c:v>4.5860000000000005E-2</c:v>
                </c:pt>
                <c:pt idx="43">
                  <c:v>4.5749999999999999E-2</c:v>
                </c:pt>
                <c:pt idx="44">
                  <c:v>4.4950000000000004E-2</c:v>
                </c:pt>
                <c:pt idx="45">
                  <c:v>4.5119999999999993E-2</c:v>
                </c:pt>
                <c:pt idx="46">
                  <c:v>4.4660000000000005E-2</c:v>
                </c:pt>
                <c:pt idx="47">
                  <c:v>4.4260000000000001E-2</c:v>
                </c:pt>
                <c:pt idx="48">
                  <c:v>4.4320000000000005E-2</c:v>
                </c:pt>
                <c:pt idx="49">
                  <c:v>4.4640000000000006E-2</c:v>
                </c:pt>
                <c:pt idx="50">
                  <c:v>4.5170000000000002E-2</c:v>
                </c:pt>
                <c:pt idx="51">
                  <c:v>4.5279999999999994E-2</c:v>
                </c:pt>
                <c:pt idx="52">
                  <c:v>4.5620000000000001E-2</c:v>
                </c:pt>
                <c:pt idx="53">
                  <c:v>4.5519999999999998E-2</c:v>
                </c:pt>
                <c:pt idx="54">
                  <c:v>4.5519999999999998E-2</c:v>
                </c:pt>
                <c:pt idx="55">
                  <c:v>4.4940000000000001E-2</c:v>
                </c:pt>
                <c:pt idx="56">
                  <c:v>4.4519999999999997E-2</c:v>
                </c:pt>
                <c:pt idx="57">
                  <c:v>4.3259999999999993E-2</c:v>
                </c:pt>
                <c:pt idx="58">
                  <c:v>4.292E-2</c:v>
                </c:pt>
                <c:pt idx="59">
                  <c:v>4.36E-2</c:v>
                </c:pt>
                <c:pt idx="60">
                  <c:v>4.4039999999999996E-2</c:v>
                </c:pt>
                <c:pt idx="61">
                  <c:v>4.3659999999999997E-2</c:v>
                </c:pt>
                <c:pt idx="62">
                  <c:v>4.3339999999999997E-2</c:v>
                </c:pt>
                <c:pt idx="63">
                  <c:v>4.3390000000000005E-2</c:v>
                </c:pt>
                <c:pt idx="64">
                  <c:v>4.3449999999999996E-2</c:v>
                </c:pt>
                <c:pt idx="65">
                  <c:v>4.3730000000000005E-2</c:v>
                </c:pt>
                <c:pt idx="66">
                  <c:v>4.3310000000000001E-2</c:v>
                </c:pt>
                <c:pt idx="67">
                  <c:v>4.3060000000000001E-2</c:v>
                </c:pt>
                <c:pt idx="68">
                  <c:v>4.2900000000000001E-2</c:v>
                </c:pt>
                <c:pt idx="69">
                  <c:v>4.2599999999999999E-2</c:v>
                </c:pt>
                <c:pt idx="70">
                  <c:v>4.1909999999999996E-2</c:v>
                </c:pt>
                <c:pt idx="71">
                  <c:v>4.2699999999999995E-2</c:v>
                </c:pt>
                <c:pt idx="72">
                  <c:v>4.2539999999999994E-2</c:v>
                </c:pt>
                <c:pt idx="73">
                  <c:v>4.2660000000000003E-2</c:v>
                </c:pt>
                <c:pt idx="74">
                  <c:v>4.1939999999999998E-2</c:v>
                </c:pt>
                <c:pt idx="75">
                  <c:v>4.2950000000000002E-2</c:v>
                </c:pt>
                <c:pt idx="76">
                  <c:v>4.258E-2</c:v>
                </c:pt>
                <c:pt idx="77">
                  <c:v>4.2450000000000002E-2</c:v>
                </c:pt>
                <c:pt idx="78">
                  <c:v>4.1870000000000004E-2</c:v>
                </c:pt>
                <c:pt idx="79">
                  <c:v>4.122E-2</c:v>
                </c:pt>
                <c:pt idx="80">
                  <c:v>4.1159999999999995E-2</c:v>
                </c:pt>
                <c:pt idx="81">
                  <c:v>4.0810000000000006E-2</c:v>
                </c:pt>
                <c:pt idx="82">
                  <c:v>4.0979999999999996E-2</c:v>
                </c:pt>
                <c:pt idx="83">
                  <c:v>4.1020000000000001E-2</c:v>
                </c:pt>
                <c:pt idx="84">
                  <c:v>4.0759999999999998E-2</c:v>
                </c:pt>
                <c:pt idx="85">
                  <c:v>4.0439999999999997E-2</c:v>
                </c:pt>
                <c:pt idx="86">
                  <c:v>4.0170000000000004E-2</c:v>
                </c:pt>
                <c:pt idx="87">
                  <c:v>4.0389999999999995E-2</c:v>
                </c:pt>
                <c:pt idx="88">
                  <c:v>4.0549999999999996E-2</c:v>
                </c:pt>
                <c:pt idx="89">
                  <c:v>4.0670000000000005E-2</c:v>
                </c:pt>
                <c:pt idx="90">
                  <c:v>4.0439999999999997E-2</c:v>
                </c:pt>
                <c:pt idx="91">
                  <c:v>4.045E-2</c:v>
                </c:pt>
                <c:pt idx="92">
                  <c:v>0.04</c:v>
                </c:pt>
                <c:pt idx="93">
                  <c:v>4.0309999999999999E-2</c:v>
                </c:pt>
                <c:pt idx="94">
                  <c:v>4.0439999999999997E-2</c:v>
                </c:pt>
                <c:pt idx="95">
                  <c:v>4.1410000000000002E-2</c:v>
                </c:pt>
                <c:pt idx="96">
                  <c:v>4.1609999999999994E-2</c:v>
                </c:pt>
                <c:pt idx="97">
                  <c:v>4.1500000000000002E-2</c:v>
                </c:pt>
                <c:pt idx="98">
                  <c:v>4.1149999999999999E-2</c:v>
                </c:pt>
                <c:pt idx="99">
                  <c:v>4.1550000000000004E-2</c:v>
                </c:pt>
                <c:pt idx="100">
                  <c:v>4.1779999999999998E-2</c:v>
                </c:pt>
                <c:pt idx="101">
                  <c:v>4.1860000000000001E-2</c:v>
                </c:pt>
                <c:pt idx="102">
                  <c:v>4.1680000000000002E-2</c:v>
                </c:pt>
                <c:pt idx="103">
                  <c:v>4.1589999999999995E-2</c:v>
                </c:pt>
                <c:pt idx="104">
                  <c:v>4.1529999999999997E-2</c:v>
                </c:pt>
                <c:pt idx="105">
                  <c:v>4.1309999999999999E-2</c:v>
                </c:pt>
                <c:pt idx="106">
                  <c:v>4.1429999999999995E-2</c:v>
                </c:pt>
                <c:pt idx="107">
                  <c:v>4.1500000000000002E-2</c:v>
                </c:pt>
                <c:pt idx="108">
                  <c:v>4.1849999999999998E-2</c:v>
                </c:pt>
                <c:pt idx="109">
                  <c:v>4.1529999999999997E-2</c:v>
                </c:pt>
                <c:pt idx="110">
                  <c:v>4.1500000000000002E-2</c:v>
                </c:pt>
                <c:pt idx="111">
                  <c:v>4.1459999999999997E-2</c:v>
                </c:pt>
                <c:pt idx="112">
                  <c:v>4.1550000000000004E-2</c:v>
                </c:pt>
                <c:pt idx="113">
                  <c:v>4.1700000000000001E-2</c:v>
                </c:pt>
                <c:pt idx="114">
                  <c:v>4.1399999999999999E-2</c:v>
                </c:pt>
                <c:pt idx="115">
                  <c:v>4.1230000000000003E-2</c:v>
                </c:pt>
                <c:pt idx="116">
                  <c:v>4.088E-2</c:v>
                </c:pt>
                <c:pt idx="117">
                  <c:v>4.1079999999999998E-2</c:v>
                </c:pt>
                <c:pt idx="118">
                  <c:v>4.1159999999999995E-2</c:v>
                </c:pt>
                <c:pt idx="119">
                  <c:v>4.0770000000000001E-2</c:v>
                </c:pt>
                <c:pt idx="120">
                  <c:v>4.0979999999999996E-2</c:v>
                </c:pt>
                <c:pt idx="121">
                  <c:v>4.1180000000000001E-2</c:v>
                </c:pt>
                <c:pt idx="122">
                  <c:v>4.1340000000000002E-2</c:v>
                </c:pt>
                <c:pt idx="123">
                  <c:v>4.1059999999999999E-2</c:v>
                </c:pt>
                <c:pt idx="124">
                  <c:v>4.061E-2</c:v>
                </c:pt>
                <c:pt idx="125">
                  <c:v>3.9629999999999999E-2</c:v>
                </c:pt>
                <c:pt idx="126">
                  <c:v>3.977E-2</c:v>
                </c:pt>
                <c:pt idx="127">
                  <c:v>0.04</c:v>
                </c:pt>
                <c:pt idx="128">
                  <c:v>4.0209999999999996E-2</c:v>
                </c:pt>
                <c:pt idx="129">
                  <c:v>4.0730000000000002E-2</c:v>
                </c:pt>
                <c:pt idx="130">
                  <c:v>4.0759999999999998E-2</c:v>
                </c:pt>
                <c:pt idx="131">
                  <c:v>4.0570000000000002E-2</c:v>
                </c:pt>
                <c:pt idx="132">
                  <c:v>4.0750000000000001E-2</c:v>
                </c:pt>
                <c:pt idx="133">
                  <c:v>4.1130000000000007E-2</c:v>
                </c:pt>
                <c:pt idx="134">
                  <c:v>4.1139999999999996E-2</c:v>
                </c:pt>
                <c:pt idx="135">
                  <c:v>4.086E-2</c:v>
                </c:pt>
                <c:pt idx="136">
                  <c:v>4.0209999999999996E-2</c:v>
                </c:pt>
                <c:pt idx="137">
                  <c:v>4.0030000000000003E-2</c:v>
                </c:pt>
                <c:pt idx="138">
                  <c:v>3.9919999999999997E-2</c:v>
                </c:pt>
                <c:pt idx="139">
                  <c:v>3.9609999999999999E-2</c:v>
                </c:pt>
                <c:pt idx="140">
                  <c:v>3.9750000000000001E-2</c:v>
                </c:pt>
                <c:pt idx="141">
                  <c:v>4.0190000000000003E-2</c:v>
                </c:pt>
                <c:pt idx="142">
                  <c:v>4.0399999999999998E-2</c:v>
                </c:pt>
                <c:pt idx="143">
                  <c:v>4.0830000000000005E-2</c:v>
                </c:pt>
                <c:pt idx="144">
                  <c:v>4.0559999999999999E-2</c:v>
                </c:pt>
                <c:pt idx="145">
                  <c:v>4.0430000000000001E-2</c:v>
                </c:pt>
                <c:pt idx="146">
                  <c:v>4.0579999999999998E-2</c:v>
                </c:pt>
                <c:pt idx="147">
                  <c:v>4.086E-2</c:v>
                </c:pt>
                <c:pt idx="148">
                  <c:v>4.1349999999999998E-2</c:v>
                </c:pt>
                <c:pt idx="149">
                  <c:v>4.1700000000000001E-2</c:v>
                </c:pt>
                <c:pt idx="150">
                  <c:v>4.2270000000000002E-2</c:v>
                </c:pt>
                <c:pt idx="151">
                  <c:v>4.2119999999999998E-2</c:v>
                </c:pt>
                <c:pt idx="152">
                  <c:v>4.1759999999999999E-2</c:v>
                </c:pt>
                <c:pt idx="153">
                  <c:v>4.2190000000000005E-2</c:v>
                </c:pt>
                <c:pt idx="154">
                  <c:v>4.3470000000000002E-2</c:v>
                </c:pt>
                <c:pt idx="155">
                  <c:v>4.4189999999999993E-2</c:v>
                </c:pt>
                <c:pt idx="156">
                  <c:v>4.5419999999999995E-2</c:v>
                </c:pt>
                <c:pt idx="157">
                  <c:v>4.446E-2</c:v>
                </c:pt>
                <c:pt idx="158">
                  <c:v>4.4699999999999997E-2</c:v>
                </c:pt>
                <c:pt idx="159">
                  <c:v>4.4800000000000006E-2</c:v>
                </c:pt>
                <c:pt idx="160">
                  <c:v>4.5069999999999999E-2</c:v>
                </c:pt>
                <c:pt idx="161">
                  <c:v>4.5289999999999997E-2</c:v>
                </c:pt>
                <c:pt idx="162">
                  <c:v>4.514E-2</c:v>
                </c:pt>
                <c:pt idx="163">
                  <c:v>4.453E-2</c:v>
                </c:pt>
                <c:pt idx="164">
                  <c:v>4.4770000000000004E-2</c:v>
                </c:pt>
                <c:pt idx="165">
                  <c:v>4.4900000000000002E-2</c:v>
                </c:pt>
                <c:pt idx="166">
                  <c:v>4.4790000000000003E-2</c:v>
                </c:pt>
                <c:pt idx="167">
                  <c:v>4.3949999999999996E-2</c:v>
                </c:pt>
                <c:pt idx="168">
                  <c:v>4.4059999999999995E-2</c:v>
                </c:pt>
                <c:pt idx="169">
                  <c:v>4.446E-2</c:v>
                </c:pt>
                <c:pt idx="170">
                  <c:v>4.5129999999999997E-2</c:v>
                </c:pt>
                <c:pt idx="171">
                  <c:v>4.5839999999999999E-2</c:v>
                </c:pt>
                <c:pt idx="172">
                  <c:v>4.7199999999999999E-2</c:v>
                </c:pt>
                <c:pt idx="173">
                  <c:v>5.0029999999999998E-2</c:v>
                </c:pt>
                <c:pt idx="174">
                  <c:v>4.7E-2</c:v>
                </c:pt>
                <c:pt idx="175">
                  <c:v>4.6699999999999998E-2</c:v>
                </c:pt>
                <c:pt idx="176">
                  <c:v>4.6639999999999994E-2</c:v>
                </c:pt>
                <c:pt idx="177">
                  <c:v>4.6890000000000001E-2</c:v>
                </c:pt>
                <c:pt idx="178">
                  <c:v>4.8529999999999997E-2</c:v>
                </c:pt>
                <c:pt idx="179">
                  <c:v>5.0709999999999998E-2</c:v>
                </c:pt>
                <c:pt idx="180">
                  <c:v>5.0469999999999994E-2</c:v>
                </c:pt>
                <c:pt idx="181">
                  <c:v>5.0130000000000001E-2</c:v>
                </c:pt>
                <c:pt idx="182">
                  <c:v>4.8639999999999996E-2</c:v>
                </c:pt>
                <c:pt idx="183">
                  <c:v>4.7710000000000002E-2</c:v>
                </c:pt>
                <c:pt idx="184">
                  <c:v>4.7550000000000002E-2</c:v>
                </c:pt>
                <c:pt idx="185">
                  <c:v>4.6890000000000001E-2</c:v>
                </c:pt>
                <c:pt idx="186">
                  <c:v>4.7169999999999997E-2</c:v>
                </c:pt>
                <c:pt idx="187">
                  <c:v>4.7859999999999993E-2</c:v>
                </c:pt>
                <c:pt idx="188">
                  <c:v>4.8039999999999999E-2</c:v>
                </c:pt>
                <c:pt idx="189">
                  <c:v>4.8189999999999997E-2</c:v>
                </c:pt>
                <c:pt idx="190">
                  <c:v>4.8330000000000005E-2</c:v>
                </c:pt>
                <c:pt idx="191">
                  <c:v>4.8300000000000003E-2</c:v>
                </c:pt>
                <c:pt idx="192">
                  <c:v>4.8140000000000002E-2</c:v>
                </c:pt>
                <c:pt idx="193">
                  <c:v>4.8160000000000001E-2</c:v>
                </c:pt>
                <c:pt idx="194">
                  <c:v>4.9699999999999994E-2</c:v>
                </c:pt>
                <c:pt idx="195">
                  <c:v>4.999E-2</c:v>
                </c:pt>
                <c:pt idx="196">
                  <c:v>5.1100000000000007E-2</c:v>
                </c:pt>
                <c:pt idx="197">
                  <c:v>5.1100000000000007E-2</c:v>
                </c:pt>
                <c:pt idx="198">
                  <c:v>5.0369999999999998E-2</c:v>
                </c:pt>
                <c:pt idx="199">
                  <c:v>4.9619999999999997E-2</c:v>
                </c:pt>
                <c:pt idx="200">
                  <c:v>4.913E-2</c:v>
                </c:pt>
                <c:pt idx="201">
                  <c:v>4.8129999999999999E-2</c:v>
                </c:pt>
                <c:pt idx="202">
                  <c:v>4.8120000000000003E-2</c:v>
                </c:pt>
                <c:pt idx="203">
                  <c:v>4.6639999999999994E-2</c:v>
                </c:pt>
                <c:pt idx="204">
                  <c:v>4.6730000000000001E-2</c:v>
                </c:pt>
                <c:pt idx="205">
                  <c:v>4.6529999999999995E-2</c:v>
                </c:pt>
                <c:pt idx="206">
                  <c:v>4.657E-2</c:v>
                </c:pt>
                <c:pt idx="207">
                  <c:v>4.641E-2</c:v>
                </c:pt>
                <c:pt idx="208">
                  <c:v>4.6529999999999995E-2</c:v>
                </c:pt>
                <c:pt idx="209">
                  <c:v>4.6980000000000001E-2</c:v>
                </c:pt>
                <c:pt idx="210">
                  <c:v>4.6929999999999999E-2</c:v>
                </c:pt>
                <c:pt idx="211">
                  <c:v>4.6920000000000003E-2</c:v>
                </c:pt>
                <c:pt idx="212">
                  <c:v>4.7710000000000002E-2</c:v>
                </c:pt>
                <c:pt idx="213">
                  <c:v>4.793E-2</c:v>
                </c:pt>
                <c:pt idx="214">
                  <c:v>4.759E-2</c:v>
                </c:pt>
                <c:pt idx="215">
                  <c:v>4.7460000000000002E-2</c:v>
                </c:pt>
                <c:pt idx="216">
                  <c:v>4.7270000000000006E-2</c:v>
                </c:pt>
                <c:pt idx="217">
                  <c:v>4.7110000000000006E-2</c:v>
                </c:pt>
                <c:pt idx="218">
                  <c:v>4.7220000000000005E-2</c:v>
                </c:pt>
                <c:pt idx="219">
                  <c:v>4.7070000000000001E-2</c:v>
                </c:pt>
                <c:pt idx="220">
                  <c:v>4.7009999999999996E-2</c:v>
                </c:pt>
                <c:pt idx="221">
                  <c:v>4.7409999999999994E-2</c:v>
                </c:pt>
                <c:pt idx="222">
                  <c:v>4.7960000000000003E-2</c:v>
                </c:pt>
                <c:pt idx="223">
                  <c:v>4.7869999999999996E-2</c:v>
                </c:pt>
                <c:pt idx="224">
                  <c:v>4.9540000000000001E-2</c:v>
                </c:pt>
                <c:pt idx="225">
                  <c:v>4.981E-2</c:v>
                </c:pt>
                <c:pt idx="226">
                  <c:v>5.0499999999999996E-2</c:v>
                </c:pt>
                <c:pt idx="227">
                  <c:v>5.008E-2</c:v>
                </c:pt>
                <c:pt idx="228">
                  <c:v>4.9950000000000001E-2</c:v>
                </c:pt>
                <c:pt idx="229">
                  <c:v>5.015E-2</c:v>
                </c:pt>
                <c:pt idx="230">
                  <c:v>5.1130000000000002E-2</c:v>
                </c:pt>
                <c:pt idx="231">
                  <c:v>5.2320000000000005E-2</c:v>
                </c:pt>
                <c:pt idx="232">
                  <c:v>5.1569999999999998E-2</c:v>
                </c:pt>
                <c:pt idx="233">
                  <c:v>5.0730000000000004E-2</c:v>
                </c:pt>
                <c:pt idx="234">
                  <c:v>5.0529999999999999E-2</c:v>
                </c:pt>
                <c:pt idx="235">
                  <c:v>5.0590000000000003E-2</c:v>
                </c:pt>
                <c:pt idx="236">
                  <c:v>5.0799999999999998E-2</c:v>
                </c:pt>
                <c:pt idx="237">
                  <c:v>5.0450000000000002E-2</c:v>
                </c:pt>
                <c:pt idx="238">
                  <c:v>5.0770000000000003E-2</c:v>
                </c:pt>
                <c:pt idx="239">
                  <c:v>5.0949999999999995E-2</c:v>
                </c:pt>
                <c:pt idx="240">
                  <c:v>5.1119999999999999E-2</c:v>
                </c:pt>
                <c:pt idx="241">
                  <c:v>5.1109999999999996E-2</c:v>
                </c:pt>
                <c:pt idx="242">
                  <c:v>5.0720000000000001E-2</c:v>
                </c:pt>
                <c:pt idx="243">
                  <c:v>5.135E-2</c:v>
                </c:pt>
                <c:pt idx="244">
                  <c:v>5.2679999999999998E-2</c:v>
                </c:pt>
                <c:pt idx="245">
                  <c:v>5.2949999999999997E-2</c:v>
                </c:pt>
                <c:pt idx="246">
                  <c:v>5.2900000000000003E-2</c:v>
                </c:pt>
                <c:pt idx="247">
                  <c:v>5.2169999999999994E-2</c:v>
                </c:pt>
                <c:pt idx="248">
                  <c:v>5.2489999999999995E-2</c:v>
                </c:pt>
                <c:pt idx="249">
                  <c:v>5.3749999999999999E-2</c:v>
                </c:pt>
                <c:pt idx="250">
                  <c:v>5.4909999999999994E-2</c:v>
                </c:pt>
                <c:pt idx="251">
                  <c:v>5.4820000000000001E-2</c:v>
                </c:pt>
                <c:pt idx="252">
                  <c:v>5.4829999999999997E-2</c:v>
                </c:pt>
                <c:pt idx="253">
                  <c:v>5.484E-2</c:v>
                </c:pt>
                <c:pt idx="254">
                  <c:v>5.4850000000000003E-2</c:v>
                </c:pt>
                <c:pt idx="255">
                  <c:v>5.527E-2</c:v>
                </c:pt>
                <c:pt idx="256">
                  <c:v>5.6120000000000003E-2</c:v>
                </c:pt>
                <c:pt idx="257">
                  <c:v>5.8760000000000007E-2</c:v>
                </c:pt>
                <c:pt idx="258">
                  <c:v>5.6169999999999998E-2</c:v>
                </c:pt>
                <c:pt idx="259">
                  <c:v>5.5960000000000003E-2</c:v>
                </c:pt>
                <c:pt idx="260">
                  <c:v>5.5469999999999998E-2</c:v>
                </c:pt>
                <c:pt idx="261">
                  <c:v>5.6210000000000003E-2</c:v>
                </c:pt>
                <c:pt idx="262">
                  <c:v>5.638E-2</c:v>
                </c:pt>
                <c:pt idx="263">
                  <c:v>5.6420000000000005E-2</c:v>
                </c:pt>
                <c:pt idx="264">
                  <c:v>5.6740000000000006E-2</c:v>
                </c:pt>
                <c:pt idx="265">
                  <c:v>5.6890000000000003E-2</c:v>
                </c:pt>
                <c:pt idx="266">
                  <c:v>5.5259999999999997E-2</c:v>
                </c:pt>
                <c:pt idx="267">
                  <c:v>5.527E-2</c:v>
                </c:pt>
                <c:pt idx="268">
                  <c:v>5.4820000000000001E-2</c:v>
                </c:pt>
                <c:pt idx="269">
                  <c:v>5.586E-2</c:v>
                </c:pt>
                <c:pt idx="270">
                  <c:v>5.6159999999999995E-2</c:v>
                </c:pt>
                <c:pt idx="271">
                  <c:v>5.4509999999999996E-2</c:v>
                </c:pt>
                <c:pt idx="272">
                  <c:v>5.4189999999999995E-2</c:v>
                </c:pt>
                <c:pt idx="273">
                  <c:v>5.5039999999999999E-2</c:v>
                </c:pt>
                <c:pt idx="274">
                  <c:v>5.5359999999999993E-2</c:v>
                </c:pt>
                <c:pt idx="275">
                  <c:v>5.577E-2</c:v>
                </c:pt>
                <c:pt idx="276">
                  <c:v>5.5640000000000002E-2</c:v>
                </c:pt>
                <c:pt idx="277">
                  <c:v>5.5599999999999997E-2</c:v>
                </c:pt>
                <c:pt idx="278">
                  <c:v>5.5399999999999998E-2</c:v>
                </c:pt>
                <c:pt idx="279">
                  <c:v>5.525E-2</c:v>
                </c:pt>
                <c:pt idx="280">
                  <c:v>5.4909999999999994E-2</c:v>
                </c:pt>
                <c:pt idx="281">
                  <c:v>5.4219999999999997E-2</c:v>
                </c:pt>
                <c:pt idx="282">
                  <c:v>5.407E-2</c:v>
                </c:pt>
                <c:pt idx="283">
                  <c:v>5.4489999999999997E-2</c:v>
                </c:pt>
                <c:pt idx="284">
                  <c:v>5.484E-2</c:v>
                </c:pt>
                <c:pt idx="285">
                  <c:v>5.4600000000000003E-2</c:v>
                </c:pt>
                <c:pt idx="286">
                  <c:v>5.5199999999999999E-2</c:v>
                </c:pt>
                <c:pt idx="287">
                  <c:v>5.5259999999999997E-2</c:v>
                </c:pt>
                <c:pt idx="288">
                  <c:v>5.534E-2</c:v>
                </c:pt>
                <c:pt idx="289">
                  <c:v>5.5940000000000004E-2</c:v>
                </c:pt>
                <c:pt idx="290">
                  <c:v>5.5389999999999995E-2</c:v>
                </c:pt>
                <c:pt idx="291">
                  <c:v>5.5389999999999995E-2</c:v>
                </c:pt>
                <c:pt idx="292">
                  <c:v>5.6280000000000004E-2</c:v>
                </c:pt>
                <c:pt idx="293">
                  <c:v>5.6289999999999993E-2</c:v>
                </c:pt>
                <c:pt idx="294">
                  <c:v>5.6590000000000001E-2</c:v>
                </c:pt>
                <c:pt idx="295">
                  <c:v>5.611E-2</c:v>
                </c:pt>
                <c:pt idx="296">
                  <c:v>5.6619999999999997E-2</c:v>
                </c:pt>
                <c:pt idx="297">
                  <c:v>5.6890000000000003E-2</c:v>
                </c:pt>
                <c:pt idx="298">
                  <c:v>5.7119999999999997E-2</c:v>
                </c:pt>
                <c:pt idx="299">
                  <c:v>5.6509999999999998E-2</c:v>
                </c:pt>
                <c:pt idx="300">
                  <c:v>5.7069999999999996E-2</c:v>
                </c:pt>
                <c:pt idx="301">
                  <c:v>5.774E-2</c:v>
                </c:pt>
                <c:pt idx="302">
                  <c:v>5.8250000000000003E-2</c:v>
                </c:pt>
                <c:pt idx="303">
                  <c:v>5.9389999999999998E-2</c:v>
                </c:pt>
                <c:pt idx="304">
                  <c:v>5.9200000000000003E-2</c:v>
                </c:pt>
                <c:pt idx="305">
                  <c:v>5.9580000000000001E-2</c:v>
                </c:pt>
                <c:pt idx="306">
                  <c:v>6.0019999999999997E-2</c:v>
                </c:pt>
                <c:pt idx="307">
                  <c:v>6.0410000000000005E-2</c:v>
                </c:pt>
                <c:pt idx="308">
                  <c:v>6.1900000000000004E-2</c:v>
                </c:pt>
                <c:pt idx="309">
                  <c:v>6.1409999999999999E-2</c:v>
                </c:pt>
                <c:pt idx="310">
                  <c:v>6.1120000000000001E-2</c:v>
                </c:pt>
                <c:pt idx="311">
                  <c:v>6.1509999999999995E-2</c:v>
                </c:pt>
                <c:pt idx="312">
                  <c:v>6.1500000000000006E-2</c:v>
                </c:pt>
                <c:pt idx="313">
                  <c:v>6.1470000000000004E-2</c:v>
                </c:pt>
                <c:pt idx="314">
                  <c:v>6.1890000000000001E-2</c:v>
                </c:pt>
                <c:pt idx="315">
                  <c:v>6.2080000000000003E-2</c:v>
                </c:pt>
                <c:pt idx="316">
                  <c:v>6.2E-2</c:v>
                </c:pt>
                <c:pt idx="317">
                  <c:v>6.1539999999999997E-2</c:v>
                </c:pt>
                <c:pt idx="318">
                  <c:v>6.1470000000000004E-2</c:v>
                </c:pt>
                <c:pt idx="319">
                  <c:v>6.2119999999999995E-2</c:v>
                </c:pt>
                <c:pt idx="320">
                  <c:v>6.1269999999999998E-2</c:v>
                </c:pt>
                <c:pt idx="321">
                  <c:v>6.0299999999999999E-2</c:v>
                </c:pt>
                <c:pt idx="322">
                  <c:v>5.8520000000000003E-2</c:v>
                </c:pt>
                <c:pt idx="323">
                  <c:v>5.7950000000000002E-2</c:v>
                </c:pt>
                <c:pt idx="324">
                  <c:v>5.8099999999999999E-2</c:v>
                </c:pt>
                <c:pt idx="325">
                  <c:v>5.7859999999999995E-2</c:v>
                </c:pt>
                <c:pt idx="326">
                  <c:v>5.8299999999999998E-2</c:v>
                </c:pt>
                <c:pt idx="327">
                  <c:v>5.8529999999999999E-2</c:v>
                </c:pt>
                <c:pt idx="328">
                  <c:v>5.7930000000000002E-2</c:v>
                </c:pt>
                <c:pt idx="329">
                  <c:v>5.8179999999999996E-2</c:v>
                </c:pt>
                <c:pt idx="330">
                  <c:v>5.8739999999999994E-2</c:v>
                </c:pt>
                <c:pt idx="331">
                  <c:v>5.9699999999999996E-2</c:v>
                </c:pt>
                <c:pt idx="332">
                  <c:v>6.2560000000000004E-2</c:v>
                </c:pt>
                <c:pt idx="333">
                  <c:v>6.3060000000000005E-2</c:v>
                </c:pt>
                <c:pt idx="334">
                  <c:v>6.2729999999999994E-2</c:v>
                </c:pt>
                <c:pt idx="335">
                  <c:v>6.4979999999999996E-2</c:v>
                </c:pt>
                <c:pt idx="336">
                  <c:v>6.4930000000000002E-2</c:v>
                </c:pt>
                <c:pt idx="337">
                  <c:v>6.5769999999999995E-2</c:v>
                </c:pt>
                <c:pt idx="338">
                  <c:v>6.5579999999999999E-2</c:v>
                </c:pt>
                <c:pt idx="339">
                  <c:v>6.515E-2</c:v>
                </c:pt>
                <c:pt idx="340">
                  <c:v>6.5259999999999999E-2</c:v>
                </c:pt>
                <c:pt idx="341">
                  <c:v>6.5659999999999996E-2</c:v>
                </c:pt>
                <c:pt idx="342">
                  <c:v>6.615E-2</c:v>
                </c:pt>
                <c:pt idx="343">
                  <c:v>6.6830000000000001E-2</c:v>
                </c:pt>
                <c:pt idx="344">
                  <c:v>6.6979999999999998E-2</c:v>
                </c:pt>
                <c:pt idx="345">
                  <c:v>6.6089999999999996E-2</c:v>
                </c:pt>
                <c:pt idx="346">
                  <c:v>6.6369999999999998E-2</c:v>
                </c:pt>
                <c:pt idx="347">
                  <c:v>6.5640000000000004E-2</c:v>
                </c:pt>
                <c:pt idx="348">
                  <c:v>6.5930000000000002E-2</c:v>
                </c:pt>
                <c:pt idx="349">
                  <c:v>6.6119999999999998E-2</c:v>
                </c:pt>
                <c:pt idx="350">
                  <c:v>6.6220000000000001E-2</c:v>
                </c:pt>
                <c:pt idx="351">
                  <c:v>6.6250000000000003E-2</c:v>
                </c:pt>
                <c:pt idx="352">
                  <c:v>6.6839999999999997E-2</c:v>
                </c:pt>
                <c:pt idx="353">
                  <c:v>6.7220000000000002E-2</c:v>
                </c:pt>
                <c:pt idx="354">
                  <c:v>6.6890000000000005E-2</c:v>
                </c:pt>
                <c:pt idx="355">
                  <c:v>6.6479999999999997E-2</c:v>
                </c:pt>
                <c:pt idx="356">
                  <c:v>6.6280000000000006E-2</c:v>
                </c:pt>
                <c:pt idx="357">
                  <c:v>6.4930000000000002E-2</c:v>
                </c:pt>
                <c:pt idx="358">
                  <c:v>6.4000000000000001E-2</c:v>
                </c:pt>
                <c:pt idx="359">
                  <c:v>6.2740000000000004E-2</c:v>
                </c:pt>
                <c:pt idx="360">
                  <c:v>6.1710000000000001E-2</c:v>
                </c:pt>
                <c:pt idx="361">
                  <c:v>6.0899999999999996E-2</c:v>
                </c:pt>
                <c:pt idx="362">
                  <c:v>6.071E-2</c:v>
                </c:pt>
                <c:pt idx="363">
                  <c:v>5.9400000000000001E-2</c:v>
                </c:pt>
                <c:pt idx="364">
                  <c:v>5.8540000000000002E-2</c:v>
                </c:pt>
                <c:pt idx="365">
                  <c:v>5.7990000000000007E-2</c:v>
                </c:pt>
                <c:pt idx="366">
                  <c:v>5.8169999999999999E-2</c:v>
                </c:pt>
                <c:pt idx="367">
                  <c:v>5.7759999999999999E-2</c:v>
                </c:pt>
                <c:pt idx="368">
                  <c:v>5.6950000000000001E-2</c:v>
                </c:pt>
                <c:pt idx="369">
                  <c:v>5.636E-2</c:v>
                </c:pt>
                <c:pt idx="370">
                  <c:v>5.5460000000000002E-2</c:v>
                </c:pt>
                <c:pt idx="371">
                  <c:v>5.5449999999999999E-2</c:v>
                </c:pt>
                <c:pt idx="372">
                  <c:v>5.4989999999999997E-2</c:v>
                </c:pt>
                <c:pt idx="373">
                  <c:v>5.33E-2</c:v>
                </c:pt>
                <c:pt idx="374">
                  <c:v>5.3239999999999996E-2</c:v>
                </c:pt>
                <c:pt idx="375">
                  <c:v>5.3319999999999999E-2</c:v>
                </c:pt>
                <c:pt idx="376">
                  <c:v>5.3830000000000003E-2</c:v>
                </c:pt>
                <c:pt idx="377">
                  <c:v>5.4919999999999997E-2</c:v>
                </c:pt>
                <c:pt idx="378">
                  <c:v>5.484E-2</c:v>
                </c:pt>
                <c:pt idx="379">
                  <c:v>5.6939999999999998E-2</c:v>
                </c:pt>
                <c:pt idx="380">
                  <c:v>5.8270000000000002E-2</c:v>
                </c:pt>
                <c:pt idx="381">
                  <c:v>5.79E-2</c:v>
                </c:pt>
                <c:pt idx="382">
                  <c:v>5.7980000000000004E-2</c:v>
                </c:pt>
                <c:pt idx="383">
                  <c:v>5.8360000000000002E-2</c:v>
                </c:pt>
                <c:pt idx="384">
                  <c:v>5.8970000000000002E-2</c:v>
                </c:pt>
                <c:pt idx="385">
                  <c:v>5.9950000000000003E-2</c:v>
                </c:pt>
                <c:pt idx="386">
                  <c:v>6.0039999999999996E-2</c:v>
                </c:pt>
                <c:pt idx="387">
                  <c:v>6.0700000000000004E-2</c:v>
                </c:pt>
                <c:pt idx="388">
                  <c:v>6.1870000000000001E-2</c:v>
                </c:pt>
                <c:pt idx="389">
                  <c:v>6.1519999999999998E-2</c:v>
                </c:pt>
                <c:pt idx="390">
                  <c:v>6.2240000000000004E-2</c:v>
                </c:pt>
                <c:pt idx="391">
                  <c:v>6.2260000000000003E-2</c:v>
                </c:pt>
                <c:pt idx="392">
                  <c:v>6.1849999999999995E-2</c:v>
                </c:pt>
                <c:pt idx="393">
                  <c:v>6.1399999999999996E-2</c:v>
                </c:pt>
                <c:pt idx="394">
                  <c:v>6.1529999999999994E-2</c:v>
                </c:pt>
                <c:pt idx="395">
                  <c:v>6.2480000000000001E-2</c:v>
                </c:pt>
                <c:pt idx="396">
                  <c:v>6.3399999999999998E-2</c:v>
                </c:pt>
                <c:pt idx="397">
                  <c:v>6.4320000000000002E-2</c:v>
                </c:pt>
                <c:pt idx="398">
                  <c:v>6.515E-2</c:v>
                </c:pt>
                <c:pt idx="399">
                  <c:v>6.5860000000000002E-2</c:v>
                </c:pt>
                <c:pt idx="400">
                  <c:v>6.6280000000000006E-2</c:v>
                </c:pt>
                <c:pt idx="401">
                  <c:v>6.5890000000000004E-2</c:v>
                </c:pt>
                <c:pt idx="402">
                  <c:v>6.6650000000000001E-2</c:v>
                </c:pt>
                <c:pt idx="403">
                  <c:v>6.7309999999999995E-2</c:v>
                </c:pt>
                <c:pt idx="404">
                  <c:v>6.9139999999999993E-2</c:v>
                </c:pt>
                <c:pt idx="405">
                  <c:v>7.0379999999999998E-2</c:v>
                </c:pt>
                <c:pt idx="406">
                  <c:v>7.0489999999999997E-2</c:v>
                </c:pt>
                <c:pt idx="407">
                  <c:v>7.0430000000000006E-2</c:v>
                </c:pt>
                <c:pt idx="408">
                  <c:v>7.0580000000000004E-2</c:v>
                </c:pt>
                <c:pt idx="409">
                  <c:v>6.8639999999999993E-2</c:v>
                </c:pt>
                <c:pt idx="410">
                  <c:v>6.658E-2</c:v>
                </c:pt>
                <c:pt idx="411">
                  <c:v>6.8140000000000006E-2</c:v>
                </c:pt>
                <c:pt idx="412">
                  <c:v>6.7960000000000007E-2</c:v>
                </c:pt>
                <c:pt idx="413">
                  <c:v>6.8269999999999997E-2</c:v>
                </c:pt>
                <c:pt idx="414">
                  <c:v>6.9129999999999997E-2</c:v>
                </c:pt>
                <c:pt idx="415">
                  <c:v>6.9249999999999992E-2</c:v>
                </c:pt>
                <c:pt idx="416">
                  <c:v>7.0029999999999995E-2</c:v>
                </c:pt>
                <c:pt idx="417">
                  <c:v>7.0220000000000005E-2</c:v>
                </c:pt>
                <c:pt idx="418">
                  <c:v>6.9960000000000008E-2</c:v>
                </c:pt>
                <c:pt idx="419">
                  <c:v>7.0319999999999994E-2</c:v>
                </c:pt>
                <c:pt idx="420">
                  <c:v>7.0940000000000003E-2</c:v>
                </c:pt>
                <c:pt idx="421">
                  <c:v>7.1749999999999994E-2</c:v>
                </c:pt>
                <c:pt idx="422">
                  <c:v>7.2400000000000006E-2</c:v>
                </c:pt>
                <c:pt idx="423">
                  <c:v>7.1940000000000004E-2</c:v>
                </c:pt>
                <c:pt idx="424">
                  <c:v>7.1279999999999996E-2</c:v>
                </c:pt>
                <c:pt idx="425">
                  <c:v>7.0359999999999992E-2</c:v>
                </c:pt>
                <c:pt idx="426">
                  <c:v>7.0069999999999993E-2</c:v>
                </c:pt>
                <c:pt idx="427">
                  <c:v>7.0430000000000006E-2</c:v>
                </c:pt>
                <c:pt idx="428">
                  <c:v>7.0879999999999999E-2</c:v>
                </c:pt>
                <c:pt idx="429">
                  <c:v>6.9989999999999997E-2</c:v>
                </c:pt>
                <c:pt idx="430">
                  <c:v>6.9900000000000004E-2</c:v>
                </c:pt>
                <c:pt idx="431">
                  <c:v>7.1070000000000008E-2</c:v>
                </c:pt>
                <c:pt idx="432">
                  <c:v>7.0980000000000001E-2</c:v>
                </c:pt>
                <c:pt idx="433">
                  <c:v>7.0730000000000001E-2</c:v>
                </c:pt>
                <c:pt idx="434">
                  <c:v>7.0379999999999998E-2</c:v>
                </c:pt>
                <c:pt idx="435">
                  <c:v>7.0359999999999992E-2</c:v>
                </c:pt>
                <c:pt idx="436">
                  <c:v>6.9010000000000002E-2</c:v>
                </c:pt>
                <c:pt idx="437">
                  <c:v>6.9500000000000006E-2</c:v>
                </c:pt>
                <c:pt idx="438">
                  <c:v>6.7990000000000009E-2</c:v>
                </c:pt>
                <c:pt idx="439">
                  <c:v>6.7049999999999998E-2</c:v>
                </c:pt>
                <c:pt idx="440">
                  <c:v>6.7930000000000004E-2</c:v>
                </c:pt>
                <c:pt idx="441">
                  <c:v>6.7750000000000005E-2</c:v>
                </c:pt>
                <c:pt idx="442">
                  <c:v>6.7560000000000009E-2</c:v>
                </c:pt>
                <c:pt idx="443">
                  <c:v>6.7330000000000001E-2</c:v>
                </c:pt>
                <c:pt idx="444">
                  <c:v>6.7119999999999999E-2</c:v>
                </c:pt>
                <c:pt idx="445">
                  <c:v>6.6989999999999994E-2</c:v>
                </c:pt>
                <c:pt idx="446">
                  <c:v>6.6890000000000005E-2</c:v>
                </c:pt>
                <c:pt idx="447">
                  <c:v>6.6659999999999997E-2</c:v>
                </c:pt>
                <c:pt idx="448">
                  <c:v>6.6180000000000003E-2</c:v>
                </c:pt>
                <c:pt idx="449">
                  <c:v>6.447E-2</c:v>
                </c:pt>
                <c:pt idx="450">
                  <c:v>6.3869999999999996E-2</c:v>
                </c:pt>
                <c:pt idx="451">
                  <c:v>6.2530000000000002E-2</c:v>
                </c:pt>
                <c:pt idx="452">
                  <c:v>6.2460000000000002E-2</c:v>
                </c:pt>
                <c:pt idx="453">
                  <c:v>6.2030000000000002E-2</c:v>
                </c:pt>
                <c:pt idx="454">
                  <c:v>6.1749999999999999E-2</c:v>
                </c:pt>
                <c:pt idx="455">
                  <c:v>6.1760000000000002E-2</c:v>
                </c:pt>
                <c:pt idx="456">
                  <c:v>6.1669999999999996E-2</c:v>
                </c:pt>
                <c:pt idx="457">
                  <c:v>6.055E-2</c:v>
                </c:pt>
                <c:pt idx="458">
                  <c:v>6.0769999999999998E-2</c:v>
                </c:pt>
                <c:pt idx="459">
                  <c:v>6.0909999999999999E-2</c:v>
                </c:pt>
                <c:pt idx="460">
                  <c:v>6.1749999999999999E-2</c:v>
                </c:pt>
                <c:pt idx="461">
                  <c:v>6.2370000000000002E-2</c:v>
                </c:pt>
                <c:pt idx="462">
                  <c:v>6.3259999999999997E-2</c:v>
                </c:pt>
                <c:pt idx="463">
                  <c:v>6.3060000000000005E-2</c:v>
                </c:pt>
                <c:pt idx="464">
                  <c:v>6.2920000000000004E-2</c:v>
                </c:pt>
                <c:pt idx="465">
                  <c:v>6.3240000000000005E-2</c:v>
                </c:pt>
                <c:pt idx="466">
                  <c:v>6.368E-2</c:v>
                </c:pt>
                <c:pt idx="467">
                  <c:v>6.3619999999999996E-2</c:v>
                </c:pt>
                <c:pt idx="468">
                  <c:v>6.3490000000000005E-2</c:v>
                </c:pt>
                <c:pt idx="469">
                  <c:v>6.3810000000000006E-2</c:v>
                </c:pt>
                <c:pt idx="470">
                  <c:v>6.318E-2</c:v>
                </c:pt>
                <c:pt idx="471">
                  <c:v>6.3410000000000008E-2</c:v>
                </c:pt>
                <c:pt idx="472">
                  <c:v>6.3899999999999998E-2</c:v>
                </c:pt>
                <c:pt idx="473">
                  <c:v>6.3099999999999989E-2</c:v>
                </c:pt>
                <c:pt idx="474">
                  <c:v>6.293E-2</c:v>
                </c:pt>
                <c:pt idx="475">
                  <c:v>6.3479999999999995E-2</c:v>
                </c:pt>
                <c:pt idx="476">
                  <c:v>6.3619999999999996E-2</c:v>
                </c:pt>
                <c:pt idx="477">
                  <c:v>6.3490000000000005E-2</c:v>
                </c:pt>
                <c:pt idx="478">
                  <c:v>6.3820000000000002E-2</c:v>
                </c:pt>
                <c:pt idx="479">
                  <c:v>6.4119999999999996E-2</c:v>
                </c:pt>
                <c:pt idx="480">
                  <c:v>6.3120000000000009E-2</c:v>
                </c:pt>
                <c:pt idx="481">
                  <c:v>6.2880000000000005E-2</c:v>
                </c:pt>
                <c:pt idx="482">
                  <c:v>6.318E-2</c:v>
                </c:pt>
                <c:pt idx="483">
                  <c:v>6.3060000000000005E-2</c:v>
                </c:pt>
                <c:pt idx="484">
                  <c:v>6.2659999999999993E-2</c:v>
                </c:pt>
                <c:pt idx="485">
                  <c:v>6.2780000000000002E-2</c:v>
                </c:pt>
                <c:pt idx="486">
                  <c:v>6.2880000000000005E-2</c:v>
                </c:pt>
                <c:pt idx="487">
                  <c:v>6.2920000000000004E-2</c:v>
                </c:pt>
                <c:pt idx="488">
                  <c:v>6.3099999999999989E-2</c:v>
                </c:pt>
                <c:pt idx="489">
                  <c:v>6.2899999999999998E-2</c:v>
                </c:pt>
                <c:pt idx="490">
                  <c:v>6.2460000000000002E-2</c:v>
                </c:pt>
                <c:pt idx="491">
                  <c:v>6.1500000000000006E-2</c:v>
                </c:pt>
                <c:pt idx="492">
                  <c:v>6.225E-2</c:v>
                </c:pt>
                <c:pt idx="493">
                  <c:v>6.2939999999999996E-2</c:v>
                </c:pt>
                <c:pt idx="494">
                  <c:v>6.2710000000000002E-2</c:v>
                </c:pt>
                <c:pt idx="495">
                  <c:v>6.2939999999999996E-2</c:v>
                </c:pt>
                <c:pt idx="496">
                  <c:v>6.2880000000000005E-2</c:v>
                </c:pt>
                <c:pt idx="497">
                  <c:v>6.3920000000000005E-2</c:v>
                </c:pt>
                <c:pt idx="498">
                  <c:v>6.454E-2</c:v>
                </c:pt>
                <c:pt idx="499">
                  <c:v>6.5060000000000007E-2</c:v>
                </c:pt>
                <c:pt idx="500">
                  <c:v>6.5380000000000008E-2</c:v>
                </c:pt>
                <c:pt idx="501">
                  <c:v>6.6229999999999997E-2</c:v>
                </c:pt>
                <c:pt idx="502">
                  <c:v>6.6559999999999994E-2</c:v>
                </c:pt>
                <c:pt idx="503">
                  <c:v>6.7430000000000004E-2</c:v>
                </c:pt>
                <c:pt idx="504">
                  <c:v>6.7709999999999992E-2</c:v>
                </c:pt>
                <c:pt idx="505">
                  <c:v>6.7510000000000001E-2</c:v>
                </c:pt>
                <c:pt idx="506">
                  <c:v>6.8229999999999999E-2</c:v>
                </c:pt>
                <c:pt idx="507">
                  <c:v>6.8260000000000001E-2</c:v>
                </c:pt>
                <c:pt idx="508">
                  <c:v>6.8819999999999992E-2</c:v>
                </c:pt>
                <c:pt idx="509">
                  <c:v>7.0620000000000002E-2</c:v>
                </c:pt>
                <c:pt idx="510">
                  <c:v>7.1910000000000002E-2</c:v>
                </c:pt>
                <c:pt idx="511">
                  <c:v>7.0830000000000004E-2</c:v>
                </c:pt>
                <c:pt idx="512">
                  <c:v>6.9449999999999998E-2</c:v>
                </c:pt>
                <c:pt idx="513">
                  <c:v>6.9739999999999996E-2</c:v>
                </c:pt>
                <c:pt idx="514">
                  <c:v>6.9589999999999999E-2</c:v>
                </c:pt>
                <c:pt idx="515">
                  <c:v>6.9960000000000008E-2</c:v>
                </c:pt>
                <c:pt idx="516">
                  <c:v>6.8959999999999994E-2</c:v>
                </c:pt>
                <c:pt idx="517">
                  <c:v>6.8949999999999997E-2</c:v>
                </c:pt>
                <c:pt idx="518">
                  <c:v>6.8879999999999997E-2</c:v>
                </c:pt>
                <c:pt idx="519">
                  <c:v>6.863000000000001E-2</c:v>
                </c:pt>
                <c:pt idx="520">
                  <c:v>6.8239999999999995E-2</c:v>
                </c:pt>
                <c:pt idx="521">
                  <c:v>6.701E-2</c:v>
                </c:pt>
                <c:pt idx="522">
                  <c:v>6.7400000000000002E-2</c:v>
                </c:pt>
                <c:pt idx="523">
                  <c:v>6.7320000000000005E-2</c:v>
                </c:pt>
                <c:pt idx="524">
                  <c:v>6.6909999999999997E-2</c:v>
                </c:pt>
                <c:pt idx="525">
                  <c:v>6.6349999999999992E-2</c:v>
                </c:pt>
                <c:pt idx="526">
                  <c:v>6.5930000000000002E-2</c:v>
                </c:pt>
                <c:pt idx="527">
                  <c:v>6.6290000000000002E-2</c:v>
                </c:pt>
                <c:pt idx="528">
                  <c:v>6.651E-2</c:v>
                </c:pt>
                <c:pt idx="529">
                  <c:v>6.6180000000000003E-2</c:v>
                </c:pt>
                <c:pt idx="530">
                  <c:v>6.5709999999999991E-2</c:v>
                </c:pt>
                <c:pt idx="531">
                  <c:v>6.5229999999999996E-2</c:v>
                </c:pt>
                <c:pt idx="532">
                  <c:v>6.4149999999999999E-2</c:v>
                </c:pt>
                <c:pt idx="533">
                  <c:v>6.2800000000000009E-2</c:v>
                </c:pt>
                <c:pt idx="534">
                  <c:v>6.2019999999999999E-2</c:v>
                </c:pt>
                <c:pt idx="535">
                  <c:v>6.2080000000000003E-2</c:v>
                </c:pt>
                <c:pt idx="536">
                  <c:v>6.2649999999999997E-2</c:v>
                </c:pt>
                <c:pt idx="537">
                  <c:v>6.2710000000000002E-2</c:v>
                </c:pt>
                <c:pt idx="538">
                  <c:v>6.2469999999999998E-2</c:v>
                </c:pt>
                <c:pt idx="539">
                  <c:v>6.2439999999999996E-2</c:v>
                </c:pt>
                <c:pt idx="540">
                  <c:v>6.2609999999999999E-2</c:v>
                </c:pt>
                <c:pt idx="541">
                  <c:v>6.3140000000000002E-2</c:v>
                </c:pt>
                <c:pt idx="542">
                  <c:v>6.2939999999999996E-2</c:v>
                </c:pt>
                <c:pt idx="543">
                  <c:v>6.3170000000000004E-2</c:v>
                </c:pt>
                <c:pt idx="544">
                  <c:v>6.2880000000000005E-2</c:v>
                </c:pt>
                <c:pt idx="545">
                  <c:v>6.3009999999999997E-2</c:v>
                </c:pt>
                <c:pt idx="546">
                  <c:v>6.2699999999999992E-2</c:v>
                </c:pt>
                <c:pt idx="547">
                  <c:v>6.2400000000000004E-2</c:v>
                </c:pt>
                <c:pt idx="548">
                  <c:v>6.2640000000000001E-2</c:v>
                </c:pt>
                <c:pt idx="549">
                  <c:v>6.2869999999999995E-2</c:v>
                </c:pt>
                <c:pt idx="550">
                  <c:v>6.2570000000000001E-2</c:v>
                </c:pt>
                <c:pt idx="551">
                  <c:v>6.3170000000000004E-2</c:v>
                </c:pt>
                <c:pt idx="552">
                  <c:v>6.2740000000000004E-2</c:v>
                </c:pt>
                <c:pt idx="553">
                  <c:v>6.2710000000000002E-2</c:v>
                </c:pt>
                <c:pt idx="554">
                  <c:v>6.2689999999999996E-2</c:v>
                </c:pt>
                <c:pt idx="555">
                  <c:v>6.3310000000000005E-2</c:v>
                </c:pt>
                <c:pt idx="556">
                  <c:v>6.361E-2</c:v>
                </c:pt>
                <c:pt idx="557">
                  <c:v>6.3820000000000002E-2</c:v>
                </c:pt>
                <c:pt idx="558">
                  <c:v>6.3410000000000008E-2</c:v>
                </c:pt>
                <c:pt idx="559">
                  <c:v>6.3039999999999999E-2</c:v>
                </c:pt>
                <c:pt idx="560">
                  <c:v>6.3109999999999999E-2</c:v>
                </c:pt>
                <c:pt idx="561">
                  <c:v>6.3329999999999997E-2</c:v>
                </c:pt>
                <c:pt idx="562">
                  <c:v>6.3500000000000001E-2</c:v>
                </c:pt>
                <c:pt idx="563">
                  <c:v>6.343E-2</c:v>
                </c:pt>
                <c:pt idx="564">
                  <c:v>6.3649999999999998E-2</c:v>
                </c:pt>
                <c:pt idx="565">
                  <c:v>6.3730000000000009E-2</c:v>
                </c:pt>
                <c:pt idx="566">
                  <c:v>6.3769999999999993E-2</c:v>
                </c:pt>
                <c:pt idx="567">
                  <c:v>6.3789999999999999E-2</c:v>
                </c:pt>
                <c:pt idx="568">
                  <c:v>6.3850000000000004E-2</c:v>
                </c:pt>
                <c:pt idx="569">
                  <c:v>6.4020000000000007E-2</c:v>
                </c:pt>
                <c:pt idx="570">
                  <c:v>6.402999999999999E-2</c:v>
                </c:pt>
                <c:pt idx="571">
                  <c:v>6.3329999999999997E-2</c:v>
                </c:pt>
                <c:pt idx="572">
                  <c:v>6.3269999999999993E-2</c:v>
                </c:pt>
                <c:pt idx="573">
                  <c:v>6.3289999999999999E-2</c:v>
                </c:pt>
                <c:pt idx="574">
                  <c:v>6.3490000000000005E-2</c:v>
                </c:pt>
                <c:pt idx="575">
                  <c:v>6.343E-2</c:v>
                </c:pt>
                <c:pt idx="576">
                  <c:v>6.3390000000000002E-2</c:v>
                </c:pt>
                <c:pt idx="577">
                  <c:v>6.361E-2</c:v>
                </c:pt>
                <c:pt idx="578">
                  <c:v>6.3659999999999994E-2</c:v>
                </c:pt>
                <c:pt idx="579">
                  <c:v>6.386E-2</c:v>
                </c:pt>
                <c:pt idx="580">
                  <c:v>6.3829999999999998E-2</c:v>
                </c:pt>
                <c:pt idx="581">
                  <c:v>6.3550000000000009E-2</c:v>
                </c:pt>
                <c:pt idx="582">
                  <c:v>6.3560000000000005E-2</c:v>
                </c:pt>
                <c:pt idx="583">
                  <c:v>6.3399999999999998E-2</c:v>
                </c:pt>
                <c:pt idx="584">
                  <c:v>6.3299999999999995E-2</c:v>
                </c:pt>
                <c:pt idx="585">
                  <c:v>6.2859999999999999E-2</c:v>
                </c:pt>
                <c:pt idx="586">
                  <c:v>6.2880000000000005E-2</c:v>
                </c:pt>
                <c:pt idx="587">
                  <c:v>6.2740000000000004E-2</c:v>
                </c:pt>
                <c:pt idx="588">
                  <c:v>6.2420000000000003E-2</c:v>
                </c:pt>
                <c:pt idx="589">
                  <c:v>6.2260000000000003E-2</c:v>
                </c:pt>
                <c:pt idx="590">
                  <c:v>6.25E-2</c:v>
                </c:pt>
                <c:pt idx="591">
                  <c:v>6.251000000000001E-2</c:v>
                </c:pt>
                <c:pt idx="592">
                  <c:v>6.3259999999999997E-2</c:v>
                </c:pt>
                <c:pt idx="593">
                  <c:v>6.3149999999999998E-2</c:v>
                </c:pt>
                <c:pt idx="594">
                  <c:v>6.3170000000000004E-2</c:v>
                </c:pt>
                <c:pt idx="595">
                  <c:v>6.3439999999999996E-2</c:v>
                </c:pt>
                <c:pt idx="596">
                  <c:v>6.4860000000000001E-2</c:v>
                </c:pt>
                <c:pt idx="597">
                  <c:v>6.5140000000000003E-2</c:v>
                </c:pt>
                <c:pt idx="598">
                  <c:v>6.5110000000000001E-2</c:v>
                </c:pt>
                <c:pt idx="599">
                  <c:v>6.480000000000001E-2</c:v>
                </c:pt>
                <c:pt idx="600">
                  <c:v>6.3869999999999996E-2</c:v>
                </c:pt>
                <c:pt idx="601">
                  <c:v>6.336E-2</c:v>
                </c:pt>
                <c:pt idx="602">
                  <c:v>6.3399999999999998E-2</c:v>
                </c:pt>
                <c:pt idx="603">
                  <c:v>6.3390000000000002E-2</c:v>
                </c:pt>
                <c:pt idx="604">
                  <c:v>6.3049999999999995E-2</c:v>
                </c:pt>
                <c:pt idx="605">
                  <c:v>6.3019999999999993E-2</c:v>
                </c:pt>
                <c:pt idx="606">
                  <c:v>6.3750000000000001E-2</c:v>
                </c:pt>
                <c:pt idx="607">
                  <c:v>6.3589999999999994E-2</c:v>
                </c:pt>
                <c:pt idx="608">
                  <c:v>6.3570000000000002E-2</c:v>
                </c:pt>
                <c:pt idx="609">
                  <c:v>6.368E-2</c:v>
                </c:pt>
                <c:pt idx="610">
                  <c:v>6.3310000000000005E-2</c:v>
                </c:pt>
                <c:pt idx="611">
                  <c:v>6.3619999999999996E-2</c:v>
                </c:pt>
                <c:pt idx="612">
                  <c:v>6.3649999999999998E-2</c:v>
                </c:pt>
                <c:pt idx="613">
                  <c:v>6.3159999999999994E-2</c:v>
                </c:pt>
                <c:pt idx="614">
                  <c:v>6.3560000000000005E-2</c:v>
                </c:pt>
                <c:pt idx="615">
                  <c:v>6.3899999999999998E-2</c:v>
                </c:pt>
                <c:pt idx="616">
                  <c:v>6.4689999999999998E-2</c:v>
                </c:pt>
                <c:pt idx="617">
                  <c:v>6.3960000000000003E-2</c:v>
                </c:pt>
                <c:pt idx="618">
                  <c:v>6.4259999999999998E-2</c:v>
                </c:pt>
                <c:pt idx="619">
                  <c:v>6.3799999999999996E-2</c:v>
                </c:pt>
                <c:pt idx="620">
                  <c:v>6.3670000000000004E-2</c:v>
                </c:pt>
                <c:pt idx="621">
                  <c:v>6.3500000000000001E-2</c:v>
                </c:pt>
                <c:pt idx="622">
                  <c:v>6.3990000000000005E-2</c:v>
                </c:pt>
                <c:pt idx="623">
                  <c:v>6.3930000000000001E-2</c:v>
                </c:pt>
                <c:pt idx="624">
                  <c:v>6.4710000000000004E-2</c:v>
                </c:pt>
                <c:pt idx="625">
                  <c:v>6.5099999999999991E-2</c:v>
                </c:pt>
                <c:pt idx="626">
                  <c:v>6.5700000000000008E-2</c:v>
                </c:pt>
                <c:pt idx="627">
                  <c:v>6.5560000000000007E-2</c:v>
                </c:pt>
                <c:pt idx="628">
                  <c:v>6.6110000000000002E-2</c:v>
                </c:pt>
                <c:pt idx="629">
                  <c:v>6.5670000000000006E-2</c:v>
                </c:pt>
                <c:pt idx="630">
                  <c:v>6.4340000000000008E-2</c:v>
                </c:pt>
                <c:pt idx="631">
                  <c:v>6.4130000000000006E-2</c:v>
                </c:pt>
                <c:pt idx="632">
                  <c:v>6.4349999999999991E-2</c:v>
                </c:pt>
                <c:pt idx="633">
                  <c:v>6.4059999999999992E-2</c:v>
                </c:pt>
                <c:pt idx="634">
                  <c:v>6.3329999999999997E-2</c:v>
                </c:pt>
                <c:pt idx="635">
                  <c:v>6.3259999999999997E-2</c:v>
                </c:pt>
                <c:pt idx="636">
                  <c:v>6.3030000000000003E-2</c:v>
                </c:pt>
                <c:pt idx="637">
                  <c:v>6.3380000000000006E-2</c:v>
                </c:pt>
                <c:pt idx="638">
                  <c:v>6.3670000000000004E-2</c:v>
                </c:pt>
                <c:pt idx="639">
                  <c:v>6.3879999999999992E-2</c:v>
                </c:pt>
                <c:pt idx="640">
                  <c:v>6.3820000000000002E-2</c:v>
                </c:pt>
                <c:pt idx="641">
                  <c:v>6.3899999999999998E-2</c:v>
                </c:pt>
                <c:pt idx="642">
                  <c:v>6.4310000000000006E-2</c:v>
                </c:pt>
                <c:pt idx="643">
                  <c:v>6.4369999999999997E-2</c:v>
                </c:pt>
                <c:pt idx="644">
                  <c:v>6.4379999999999993E-2</c:v>
                </c:pt>
                <c:pt idx="645">
                  <c:v>6.4229999999999995E-2</c:v>
                </c:pt>
                <c:pt idx="646">
                  <c:v>6.429E-2</c:v>
                </c:pt>
                <c:pt idx="647">
                  <c:v>6.4119999999999996E-2</c:v>
                </c:pt>
                <c:pt idx="648">
                  <c:v>6.4269999999999994E-2</c:v>
                </c:pt>
                <c:pt idx="649">
                  <c:v>6.4049999999999996E-2</c:v>
                </c:pt>
                <c:pt idx="650">
                  <c:v>6.4699999999999994E-2</c:v>
                </c:pt>
                <c:pt idx="651">
                  <c:v>6.4630000000000007E-2</c:v>
                </c:pt>
                <c:pt idx="652">
                  <c:v>6.5159999999999996E-2</c:v>
                </c:pt>
                <c:pt idx="653">
                  <c:v>6.5110000000000001E-2</c:v>
                </c:pt>
                <c:pt idx="654">
                  <c:v>6.5110000000000001E-2</c:v>
                </c:pt>
                <c:pt idx="655">
                  <c:v>6.5320000000000003E-2</c:v>
                </c:pt>
                <c:pt idx="656">
                  <c:v>6.4880000000000007E-2</c:v>
                </c:pt>
                <c:pt idx="657">
                  <c:v>6.5570000000000003E-2</c:v>
                </c:pt>
                <c:pt idx="658">
                  <c:v>6.6489999999999994E-2</c:v>
                </c:pt>
                <c:pt idx="659">
                  <c:v>6.6639999999999991E-2</c:v>
                </c:pt>
                <c:pt idx="660">
                  <c:v>6.6689999999999999E-2</c:v>
                </c:pt>
                <c:pt idx="661">
                  <c:v>6.692999999999999E-2</c:v>
                </c:pt>
                <c:pt idx="662">
                  <c:v>6.6049999999999998E-2</c:v>
                </c:pt>
                <c:pt idx="663">
                  <c:v>6.5079999999999999E-2</c:v>
                </c:pt>
                <c:pt idx="664">
                  <c:v>6.5269999999999995E-2</c:v>
                </c:pt>
                <c:pt idx="665">
                  <c:v>6.497E-2</c:v>
                </c:pt>
                <c:pt idx="666">
                  <c:v>6.5439999999999998E-2</c:v>
                </c:pt>
                <c:pt idx="667">
                  <c:v>6.5619999999999998E-2</c:v>
                </c:pt>
                <c:pt idx="668">
                  <c:v>6.5939999999999999E-2</c:v>
                </c:pt>
                <c:pt idx="669">
                  <c:v>6.6130000000000008E-2</c:v>
                </c:pt>
                <c:pt idx="670">
                  <c:v>6.6130000000000008E-2</c:v>
                </c:pt>
                <c:pt idx="671">
                  <c:v>6.5990000000000007E-2</c:v>
                </c:pt>
                <c:pt idx="672">
                  <c:v>6.5879999999999994E-2</c:v>
                </c:pt>
                <c:pt idx="673">
                  <c:v>6.6239999999999993E-2</c:v>
                </c:pt>
                <c:pt idx="674">
                  <c:v>6.6140000000000004E-2</c:v>
                </c:pt>
                <c:pt idx="675">
                  <c:v>6.6360000000000002E-2</c:v>
                </c:pt>
                <c:pt idx="676">
                  <c:v>6.6610000000000003E-2</c:v>
                </c:pt>
                <c:pt idx="677">
                  <c:v>6.6630000000000009E-2</c:v>
                </c:pt>
                <c:pt idx="678">
                  <c:v>6.6500000000000004E-2</c:v>
                </c:pt>
                <c:pt idx="679">
                  <c:v>6.5390000000000004E-2</c:v>
                </c:pt>
                <c:pt idx="680">
                  <c:v>6.4079999999999998E-2</c:v>
                </c:pt>
                <c:pt idx="681">
                  <c:v>6.4610000000000001E-2</c:v>
                </c:pt>
              </c:numCache>
            </c:numRef>
          </c:val>
          <c:smooth val="0"/>
          <c:extLst>
            <c:ext xmlns:c16="http://schemas.microsoft.com/office/drawing/2014/chart" uri="{C3380CC4-5D6E-409C-BE32-E72D297353CC}">
              <c16:uniqueId val="{00000001-D83E-B743-9447-5DA3617021E0}"/>
            </c:ext>
          </c:extLst>
        </c:ser>
        <c:dLbls>
          <c:showLegendKey val="0"/>
          <c:showVal val="0"/>
          <c:showCatName val="0"/>
          <c:showSerName val="0"/>
          <c:showPercent val="0"/>
          <c:showBubbleSize val="0"/>
        </c:dLbls>
        <c:smooth val="0"/>
        <c:axId val="671106736"/>
        <c:axId val="671108416"/>
      </c:lineChart>
      <c:dateAx>
        <c:axId val="671106736"/>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8416"/>
        <c:crosses val="autoZero"/>
        <c:auto val="1"/>
        <c:lblOffset val="100"/>
        <c:baseTimeUnit val="days"/>
        <c:majorUnit val="3"/>
        <c:majorTimeUnit val="months"/>
      </c:dateAx>
      <c:valAx>
        <c:axId val="671108416"/>
        <c:scaling>
          <c:orientation val="minMax"/>
          <c:max val="0.23"/>
          <c:min val="0.03"/>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671106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8F76C28-37A7-174C-B212-9B8C592C7BD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B5370D3-28FE-7E44-9DDD-FB2D75A685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15304CA-0DB1-6845-8AC3-2D2B6F8BBF74}" type="datetimeFigureOut">
              <a:rPr lang="en-US" smtClean="0"/>
              <a:t>11/7/23</a:t>
            </a:fld>
            <a:endParaRPr lang="en-US"/>
          </a:p>
        </p:txBody>
      </p:sp>
      <p:sp>
        <p:nvSpPr>
          <p:cNvPr id="4" name="Footer Placeholder 3">
            <a:extLst>
              <a:ext uri="{FF2B5EF4-FFF2-40B4-BE49-F238E27FC236}">
                <a16:creationId xmlns:a16="http://schemas.microsoft.com/office/drawing/2014/main" id="{BF41FCB6-2F6A-3844-B39E-1142DF04AE7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F43D9DD-54DA-414A-B6AB-7CFDC4C3887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E271D9F-565B-654C-B755-81D74D0822F7}" type="slidenum">
              <a:rPr lang="en-US" smtClean="0"/>
              <a:t>‹#›</a:t>
            </a:fld>
            <a:endParaRPr lang="en-US"/>
          </a:p>
        </p:txBody>
      </p:sp>
    </p:spTree>
    <p:extLst>
      <p:ext uri="{BB962C8B-B14F-4D97-AF65-F5344CB8AC3E}">
        <p14:creationId xmlns:p14="http://schemas.microsoft.com/office/powerpoint/2010/main" val="766644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125EFE-6029-4D4F-BC44-4F19B31B5AC8}" type="datetimeFigureOut">
              <a:rPr lang="en-US" smtClean="0"/>
              <a:t>11/7/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9C70BB-947B-4C7E-87B1-455B8E8AFCBC}" type="slidenum">
              <a:rPr lang="en-US" smtClean="0"/>
              <a:t>‹#›</a:t>
            </a:fld>
            <a:endParaRPr lang="en-US"/>
          </a:p>
        </p:txBody>
      </p:sp>
    </p:spTree>
    <p:extLst>
      <p:ext uri="{BB962C8B-B14F-4D97-AF65-F5344CB8AC3E}">
        <p14:creationId xmlns:p14="http://schemas.microsoft.com/office/powerpoint/2010/main" val="36232823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C49C70BB-947B-4C7E-87B1-455B8E8AFCBC}" type="slidenum">
              <a:rPr lang="en-US" smtClean="0"/>
              <a:t>1</a:t>
            </a:fld>
            <a:endParaRPr lang="en-US"/>
          </a:p>
        </p:txBody>
      </p:sp>
    </p:spTree>
    <p:extLst>
      <p:ext uri="{BB962C8B-B14F-4D97-AF65-F5344CB8AC3E}">
        <p14:creationId xmlns:p14="http://schemas.microsoft.com/office/powerpoint/2010/main" val="786769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noProof="0" dirty="0"/>
          </a:p>
        </p:txBody>
      </p:sp>
      <p:sp>
        <p:nvSpPr>
          <p:cNvPr id="4" name="Marcador de número de diapositiva 3"/>
          <p:cNvSpPr>
            <a:spLocks noGrp="1"/>
          </p:cNvSpPr>
          <p:nvPr>
            <p:ph type="sldNum" sz="quarter" idx="5"/>
          </p:nvPr>
        </p:nvSpPr>
        <p:spPr/>
        <p:txBody>
          <a:bodyPr/>
          <a:lstStyle/>
          <a:p>
            <a:fld id="{C49C70BB-947B-4C7E-87B1-455B8E8AFCBC}" type="slidenum">
              <a:rPr lang="en-US" smtClean="0"/>
              <a:t>10</a:t>
            </a:fld>
            <a:endParaRPr lang="en-US"/>
          </a:p>
        </p:txBody>
      </p:sp>
    </p:spTree>
    <p:extLst>
      <p:ext uri="{BB962C8B-B14F-4D97-AF65-F5344CB8AC3E}">
        <p14:creationId xmlns:p14="http://schemas.microsoft.com/office/powerpoint/2010/main" val="2396444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noProof="0" dirty="0"/>
          </a:p>
        </p:txBody>
      </p:sp>
      <p:sp>
        <p:nvSpPr>
          <p:cNvPr id="4" name="Marcador de número de diapositiva 3"/>
          <p:cNvSpPr>
            <a:spLocks noGrp="1"/>
          </p:cNvSpPr>
          <p:nvPr>
            <p:ph type="sldNum" sz="quarter" idx="5"/>
          </p:nvPr>
        </p:nvSpPr>
        <p:spPr/>
        <p:txBody>
          <a:bodyPr/>
          <a:lstStyle/>
          <a:p>
            <a:fld id="{C49C70BB-947B-4C7E-87B1-455B8E8AFCBC}" type="slidenum">
              <a:rPr lang="en-US" smtClean="0"/>
              <a:t>11</a:t>
            </a:fld>
            <a:endParaRPr lang="en-US"/>
          </a:p>
        </p:txBody>
      </p:sp>
    </p:spTree>
    <p:extLst>
      <p:ext uri="{BB962C8B-B14F-4D97-AF65-F5344CB8AC3E}">
        <p14:creationId xmlns:p14="http://schemas.microsoft.com/office/powerpoint/2010/main" val="1970771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noProof="0" dirty="0"/>
          </a:p>
        </p:txBody>
      </p:sp>
      <p:sp>
        <p:nvSpPr>
          <p:cNvPr id="4" name="Marcador de número de diapositiva 3"/>
          <p:cNvSpPr>
            <a:spLocks noGrp="1"/>
          </p:cNvSpPr>
          <p:nvPr>
            <p:ph type="sldNum" sz="quarter" idx="5"/>
          </p:nvPr>
        </p:nvSpPr>
        <p:spPr/>
        <p:txBody>
          <a:bodyPr/>
          <a:lstStyle/>
          <a:p>
            <a:fld id="{C49C70BB-947B-4C7E-87B1-455B8E8AFCBC}" type="slidenum">
              <a:rPr lang="en-US" smtClean="0"/>
              <a:t>12</a:t>
            </a:fld>
            <a:endParaRPr lang="en-US"/>
          </a:p>
        </p:txBody>
      </p:sp>
    </p:spTree>
    <p:extLst>
      <p:ext uri="{BB962C8B-B14F-4D97-AF65-F5344CB8AC3E}">
        <p14:creationId xmlns:p14="http://schemas.microsoft.com/office/powerpoint/2010/main" val="36154555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_tradnl" noProof="0" dirty="0"/>
              <a:t>Global </a:t>
            </a:r>
            <a:r>
              <a:rPr lang="es-ES_tradnl" noProof="0" dirty="0" err="1"/>
              <a:t>Oil</a:t>
            </a:r>
            <a:r>
              <a:rPr lang="es-ES_tradnl" noProof="0" dirty="0"/>
              <a:t> </a:t>
            </a:r>
            <a:r>
              <a:rPr lang="es-ES_tradnl" noProof="0" dirty="0" err="1"/>
              <a:t>Majors</a:t>
            </a:r>
            <a:r>
              <a:rPr lang="es-ES_tradnl" noProof="0" dirty="0"/>
              <a:t> </a:t>
            </a:r>
            <a:r>
              <a:rPr lang="es-ES_tradnl" noProof="0" dirty="0" err="1"/>
              <a:t>transicionan</a:t>
            </a:r>
            <a:r>
              <a:rPr lang="es-ES_tradnl" noProof="0" dirty="0"/>
              <a:t> a portafolios multi-energía (20% del </a:t>
            </a:r>
            <a:r>
              <a:rPr lang="es-ES_tradnl" noProof="0" dirty="0" err="1"/>
              <a:t>capex</a:t>
            </a:r>
            <a:r>
              <a:rPr lang="es-ES_tradnl" noProof="0" dirty="0"/>
              <a:t> yendo a nuevas energías) mientras que las compañías en </a:t>
            </a:r>
            <a:r>
              <a:rPr lang="es-ES_tradnl" noProof="0" dirty="0" err="1"/>
              <a:t>Latam</a:t>
            </a:r>
            <a:r>
              <a:rPr lang="es-ES_tradnl" noProof="0" dirty="0"/>
              <a:t> todavía se focalizan en </a:t>
            </a:r>
            <a:r>
              <a:rPr lang="es-ES_tradnl" noProof="0" dirty="0" err="1"/>
              <a:t>upstream</a:t>
            </a:r>
            <a:r>
              <a:rPr lang="es-ES_tradnl" noProof="0" dirty="0"/>
              <a:t>.</a:t>
            </a:r>
          </a:p>
          <a:p>
            <a:endParaRPr lang="es-ES_tradnl" noProof="0" dirty="0"/>
          </a:p>
          <a:p>
            <a:r>
              <a:rPr lang="es-ES_tradnl" noProof="0" dirty="0"/>
              <a:t>Los grandes tienen mejor poder de negociación con los proveedores de renovables (concentrados en China) y para enfrentar a los reguladores.</a:t>
            </a:r>
          </a:p>
          <a:p>
            <a:endParaRPr lang="es-ES_tradnl" noProof="0" dirty="0"/>
          </a:p>
          <a:p>
            <a:r>
              <a:rPr lang="es-ES_tradnl" noProof="0" dirty="0"/>
              <a:t>Los cambios estructurales de los últimos años resultan en un posicionamiento financiero cómodo ya que el sector (1) provee una cobertura natural contra la inflación, (2) genera flujos de corto plazo, reduciendo la sensibilidad a subas en las tasas de interés, (3) funcionan como un activo de cobertura ante riesgos geopolíticos.</a:t>
            </a:r>
          </a:p>
          <a:p>
            <a:endParaRPr lang="es-ES_tradnl" noProof="0" dirty="0"/>
          </a:p>
          <a:p>
            <a:r>
              <a:rPr lang="es-ES_tradnl" noProof="0" dirty="0"/>
              <a:t>Los productores de </a:t>
            </a:r>
            <a:r>
              <a:rPr lang="es-ES_tradnl" noProof="0" dirty="0" err="1"/>
              <a:t>Latam</a:t>
            </a:r>
            <a:r>
              <a:rPr lang="es-ES_tradnl" noProof="0" dirty="0"/>
              <a:t> no tienen un alto nivel de endeudamiento.</a:t>
            </a:r>
          </a:p>
        </p:txBody>
      </p:sp>
      <p:sp>
        <p:nvSpPr>
          <p:cNvPr id="4" name="Marcador de número de diapositiva 3"/>
          <p:cNvSpPr>
            <a:spLocks noGrp="1"/>
          </p:cNvSpPr>
          <p:nvPr>
            <p:ph type="sldNum" sz="quarter" idx="5"/>
          </p:nvPr>
        </p:nvSpPr>
        <p:spPr/>
        <p:txBody>
          <a:bodyPr/>
          <a:lstStyle/>
          <a:p>
            <a:fld id="{C49C70BB-947B-4C7E-87B1-455B8E8AFCBC}" type="slidenum">
              <a:rPr lang="en-US" smtClean="0"/>
              <a:t>13</a:t>
            </a:fld>
            <a:endParaRPr lang="en-US"/>
          </a:p>
        </p:txBody>
      </p:sp>
    </p:spTree>
    <p:extLst>
      <p:ext uri="{BB962C8B-B14F-4D97-AF65-F5344CB8AC3E}">
        <p14:creationId xmlns:p14="http://schemas.microsoft.com/office/powerpoint/2010/main" val="1263238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n Estados Unidos, las cuatro compañías más grandes representan el 54% del valor del mercado (ExxonMobil, </a:t>
            </a:r>
            <a:r>
              <a:rPr lang="es-ES" dirty="0" err="1"/>
              <a:t>Chevron</a:t>
            </a:r>
            <a:r>
              <a:rPr lang="es-ES" dirty="0"/>
              <a:t>, </a:t>
            </a:r>
            <a:r>
              <a:rPr lang="es-ES" dirty="0" err="1"/>
              <a:t>ConocoPhillips</a:t>
            </a:r>
            <a:r>
              <a:rPr lang="es-ES" dirty="0"/>
              <a:t>, Occidental)</a:t>
            </a:r>
          </a:p>
          <a:p>
            <a:r>
              <a:rPr lang="es-ES" dirty="0"/>
              <a:t>En Europa las 5 principales concentran la industria (Shell, BP, Total, </a:t>
            </a:r>
            <a:r>
              <a:rPr lang="es-ES" dirty="0" err="1"/>
              <a:t>Eni</a:t>
            </a:r>
            <a:r>
              <a:rPr lang="es-ES" dirty="0"/>
              <a:t>, </a:t>
            </a:r>
            <a:r>
              <a:rPr lang="es-ES" dirty="0" err="1"/>
              <a:t>Equinor</a:t>
            </a:r>
            <a:r>
              <a:rPr lang="es-ES" dirty="0"/>
              <a:t>)</a:t>
            </a:r>
          </a:p>
          <a:p>
            <a:r>
              <a:rPr lang="es-ES" dirty="0"/>
              <a:t>En </a:t>
            </a:r>
            <a:r>
              <a:rPr lang="es-ES" dirty="0" err="1"/>
              <a:t>latinoamerica</a:t>
            </a:r>
            <a:r>
              <a:rPr lang="es-ES" dirty="0"/>
              <a:t> la industria la concentran los ”campeones nacionales”.</a:t>
            </a:r>
          </a:p>
        </p:txBody>
      </p:sp>
      <p:sp>
        <p:nvSpPr>
          <p:cNvPr id="4" name="Marcador de número de diapositiva 3"/>
          <p:cNvSpPr>
            <a:spLocks noGrp="1"/>
          </p:cNvSpPr>
          <p:nvPr>
            <p:ph type="sldNum" sz="quarter" idx="5"/>
          </p:nvPr>
        </p:nvSpPr>
        <p:spPr/>
        <p:txBody>
          <a:bodyPr/>
          <a:lstStyle/>
          <a:p>
            <a:fld id="{C49C70BB-947B-4C7E-87B1-455B8E8AFCBC}" type="slidenum">
              <a:rPr lang="en-US" smtClean="0"/>
              <a:t>2</a:t>
            </a:fld>
            <a:endParaRPr lang="en-US"/>
          </a:p>
        </p:txBody>
      </p:sp>
    </p:spTree>
    <p:extLst>
      <p:ext uri="{BB962C8B-B14F-4D97-AF65-F5344CB8AC3E}">
        <p14:creationId xmlns:p14="http://schemas.microsoft.com/office/powerpoint/2010/main" val="2345768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noProof="0" dirty="0"/>
              <a:t>Desde el principio de los 80s, la demanda de petróleo aumentó a un ritmo prácticamente constante de 1,2 millones de barriles por días al año, ligado al crecimiento de la población y la economía mundial. La industria petrolera está seteada para aumentar la oferta a ese ritmo.</a:t>
            </a:r>
          </a:p>
          <a:p>
            <a:endParaRPr lang="es-ES_tradnl" noProof="0" dirty="0"/>
          </a:p>
          <a:p>
            <a:r>
              <a:rPr lang="es-ES_tradnl" noProof="0" dirty="0"/>
              <a:t>La transición energética dispara el interrogante sobre qué pasará con la demanda de petróleo a medida que avanza.</a:t>
            </a:r>
          </a:p>
          <a:p>
            <a:endParaRPr lang="es-ES_tradnl" noProof="0" dirty="0"/>
          </a:p>
          <a:p>
            <a:r>
              <a:rPr lang="es-ES_tradnl" noProof="0" dirty="0"/>
              <a:t>La pandemia aceleró la tendencia hacia la descarbonización y la guerra en Ucrania pone en alerta a aquellos que dependen de una cadena de suministro globalizada.</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noProof="0" dirty="0"/>
              <a:t>Inclusive en el escenario en el que la demanda de petróleo no cae, surgen interrogantes sobre qué porción de la energía vendrá del petróleo y el gas en el futuro.</a:t>
            </a:r>
          </a:p>
          <a:p>
            <a:endParaRPr lang="es-ES_tradnl" noProof="0" dirty="0"/>
          </a:p>
          <a:p>
            <a:r>
              <a:rPr lang="es-ES_tradnl" noProof="0" dirty="0"/>
              <a:t>Si la demanda encuentra un pico, podría pasar que en anticipación a ese evento, OPEC decida anticiparse a monetizar una proporción más grande de sus recursos, haciendo bajar los precios en forma significativa.</a:t>
            </a:r>
          </a:p>
        </p:txBody>
      </p:sp>
      <p:sp>
        <p:nvSpPr>
          <p:cNvPr id="4" name="Marcador de número de diapositiva 3"/>
          <p:cNvSpPr>
            <a:spLocks noGrp="1"/>
          </p:cNvSpPr>
          <p:nvPr>
            <p:ph type="sldNum" sz="quarter" idx="5"/>
          </p:nvPr>
        </p:nvSpPr>
        <p:spPr/>
        <p:txBody>
          <a:bodyPr/>
          <a:lstStyle/>
          <a:p>
            <a:fld id="{C49C70BB-947B-4C7E-87B1-455B8E8AFCBC}" type="slidenum">
              <a:rPr lang="en-US" smtClean="0"/>
              <a:t>3</a:t>
            </a:fld>
            <a:endParaRPr lang="en-US"/>
          </a:p>
        </p:txBody>
      </p:sp>
    </p:spTree>
    <p:extLst>
      <p:ext uri="{BB962C8B-B14F-4D97-AF65-F5344CB8AC3E}">
        <p14:creationId xmlns:p14="http://schemas.microsoft.com/office/powerpoint/2010/main" val="3691482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_tradnl" noProof="0" dirty="0"/>
              <a:t>En 2020, Morgan Stanley creía que el pico en la demanda de petróleo estaba a la vista, pero que no llegaría antes del 2030, y que la transición energética solamente tendría un impacto en la demanda entre 2025 y 2030.</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Cuando</a:t>
            </a:r>
            <a:r>
              <a:rPr lang="en-US" dirty="0"/>
              <a:t> se </a:t>
            </a:r>
            <a:r>
              <a:rPr lang="en-US" dirty="0" err="1"/>
              <a:t>hizo</a:t>
            </a:r>
            <a:r>
              <a:rPr lang="en-US" dirty="0"/>
              <a:t> </a:t>
            </a:r>
            <a:r>
              <a:rPr lang="en-US" dirty="0" err="1"/>
              <a:t>esta</a:t>
            </a:r>
            <a:r>
              <a:rPr lang="en-US" dirty="0"/>
              <a:t> </a:t>
            </a:r>
            <a:r>
              <a:rPr lang="en-US" dirty="0" err="1"/>
              <a:t>estimación</a:t>
            </a:r>
            <a:r>
              <a:rPr lang="en-US" dirty="0"/>
              <a:t> </a:t>
            </a:r>
            <a:r>
              <a:rPr lang="en-US" dirty="0" err="1"/>
              <a:t>habían</a:t>
            </a:r>
            <a:r>
              <a:rPr lang="en-US" dirty="0"/>
              <a:t> 22 </a:t>
            </a:r>
            <a:r>
              <a:rPr lang="en-US" dirty="0" err="1"/>
              <a:t>países</a:t>
            </a:r>
            <a:r>
              <a:rPr lang="en-US" dirty="0"/>
              <a:t> con planes </a:t>
            </a:r>
            <a:r>
              <a:rPr lang="en-US" dirty="0" err="1"/>
              <a:t>anunciados</a:t>
            </a:r>
            <a:r>
              <a:rPr lang="en-US" dirty="0"/>
              <a:t> para </a:t>
            </a:r>
            <a:r>
              <a:rPr lang="en-US" dirty="0" err="1"/>
              <a:t>eliminar</a:t>
            </a:r>
            <a:r>
              <a:rPr lang="en-US" dirty="0"/>
              <a:t> la </a:t>
            </a:r>
            <a:r>
              <a:rPr lang="en-US" dirty="0" err="1"/>
              <a:t>venta</a:t>
            </a:r>
            <a:r>
              <a:rPr lang="en-US" dirty="0"/>
              <a:t> de </a:t>
            </a:r>
            <a:r>
              <a:rPr lang="en-US" dirty="0" err="1"/>
              <a:t>vehiculos</a:t>
            </a:r>
            <a:r>
              <a:rPr lang="en-US" dirty="0"/>
              <a:t> con </a:t>
            </a:r>
            <a:r>
              <a:rPr lang="en-US" dirty="0" err="1"/>
              <a:t>motores</a:t>
            </a:r>
            <a:r>
              <a:rPr lang="en-US" dirty="0"/>
              <a:t> de combustion interna, hoy hay 39</a:t>
            </a:r>
          </a:p>
          <a:p>
            <a:endParaRPr lang="en-US" dirty="0"/>
          </a:p>
          <a:p>
            <a:r>
              <a:rPr lang="en-US" dirty="0" err="1"/>
              <a:t>En</a:t>
            </a:r>
            <a:r>
              <a:rPr lang="en-US" dirty="0"/>
              <a:t> Dic-2022 JPMorgan </a:t>
            </a:r>
            <a:r>
              <a:rPr lang="en-US" dirty="0" err="1"/>
              <a:t>estimó</a:t>
            </a:r>
            <a:r>
              <a:rPr lang="en-US" dirty="0"/>
              <a:t> que </a:t>
            </a:r>
            <a:r>
              <a:rPr lang="en-US" dirty="0" err="1"/>
              <a:t>el</a:t>
            </a:r>
            <a:r>
              <a:rPr lang="en-US" dirty="0"/>
              <a:t> </a:t>
            </a:r>
            <a:r>
              <a:rPr lang="en-US" dirty="0" err="1"/>
              <a:t>pico</a:t>
            </a:r>
            <a:r>
              <a:rPr lang="en-US" dirty="0"/>
              <a:t> de la </a:t>
            </a:r>
            <a:r>
              <a:rPr lang="en-US" dirty="0" err="1"/>
              <a:t>demanda</a:t>
            </a:r>
            <a:r>
              <a:rPr lang="en-US" dirty="0"/>
              <a:t> de </a:t>
            </a:r>
            <a:r>
              <a:rPr lang="en-US" dirty="0" err="1"/>
              <a:t>petróleo</a:t>
            </a:r>
            <a:r>
              <a:rPr lang="en-US" dirty="0"/>
              <a:t> </a:t>
            </a:r>
            <a:r>
              <a:rPr lang="en-US" dirty="0" err="1"/>
              <a:t>será</a:t>
            </a:r>
            <a:r>
              <a:rPr lang="en-US" dirty="0"/>
              <a:t> </a:t>
            </a:r>
            <a:r>
              <a:rPr lang="en-US" dirty="0" err="1"/>
              <a:t>en</a:t>
            </a:r>
            <a:r>
              <a:rPr lang="en-US" dirty="0"/>
              <a:t> 2028 y la de gas a principio de la </a:t>
            </a:r>
            <a:r>
              <a:rPr lang="en-US" dirty="0" err="1"/>
              <a:t>década</a:t>
            </a:r>
            <a:r>
              <a:rPr lang="en-US" dirty="0"/>
              <a:t> de 2030.</a:t>
            </a:r>
          </a:p>
          <a:p>
            <a:endParaRPr lang="en-US" dirty="0"/>
          </a:p>
          <a:p>
            <a:r>
              <a:rPr lang="es-ES_tradnl" noProof="0" dirty="0"/>
              <a:t>Pasado ese punto de inflexión, se vuelve más importante comprender la capacidad de generación de retornos en un contexto de precios a la baja.</a:t>
            </a:r>
          </a:p>
        </p:txBody>
      </p:sp>
      <p:sp>
        <p:nvSpPr>
          <p:cNvPr id="4" name="Marcador de número de diapositiva 3"/>
          <p:cNvSpPr>
            <a:spLocks noGrp="1"/>
          </p:cNvSpPr>
          <p:nvPr>
            <p:ph type="sldNum" sz="quarter" idx="5"/>
          </p:nvPr>
        </p:nvSpPr>
        <p:spPr/>
        <p:txBody>
          <a:bodyPr/>
          <a:lstStyle/>
          <a:p>
            <a:fld id="{C49C70BB-947B-4C7E-87B1-455B8E8AFCBC}" type="slidenum">
              <a:rPr lang="en-US" smtClean="0"/>
              <a:t>4</a:t>
            </a:fld>
            <a:endParaRPr lang="en-US"/>
          </a:p>
        </p:txBody>
      </p:sp>
    </p:spTree>
    <p:extLst>
      <p:ext uri="{BB962C8B-B14F-4D97-AF65-F5344CB8AC3E}">
        <p14:creationId xmlns:p14="http://schemas.microsoft.com/office/powerpoint/2010/main" val="325141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_tradnl" noProof="0" dirty="0"/>
              <a:t>Preservar los flujos para el inversor implica no ponerlos en riesgo ni postponerlos por repago de servicios de deuda.</a:t>
            </a:r>
          </a:p>
          <a:p>
            <a:endParaRPr lang="es-ES_tradnl" noProof="0" dirty="0"/>
          </a:p>
          <a:p>
            <a:r>
              <a:rPr lang="es-ES_tradnl" noProof="0" dirty="0"/>
              <a:t>Esta tendencia se verifica también con la comprensión en los costos de producción que caen consistentemente durante los últimos 10 años, acelerando en los últimos 4.</a:t>
            </a:r>
          </a:p>
        </p:txBody>
      </p:sp>
      <p:sp>
        <p:nvSpPr>
          <p:cNvPr id="4" name="Marcador de número de diapositiva 3"/>
          <p:cNvSpPr>
            <a:spLocks noGrp="1"/>
          </p:cNvSpPr>
          <p:nvPr>
            <p:ph type="sldNum" sz="quarter" idx="5"/>
          </p:nvPr>
        </p:nvSpPr>
        <p:spPr/>
        <p:txBody>
          <a:bodyPr/>
          <a:lstStyle/>
          <a:p>
            <a:fld id="{C49C70BB-947B-4C7E-87B1-455B8E8AFCBC}" type="slidenum">
              <a:rPr lang="en-US" smtClean="0"/>
              <a:t>5</a:t>
            </a:fld>
            <a:endParaRPr lang="en-US"/>
          </a:p>
        </p:txBody>
      </p:sp>
    </p:spTree>
    <p:extLst>
      <p:ext uri="{BB962C8B-B14F-4D97-AF65-F5344CB8AC3E}">
        <p14:creationId xmlns:p14="http://schemas.microsoft.com/office/powerpoint/2010/main" val="2056822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noProof="0" dirty="0"/>
          </a:p>
        </p:txBody>
      </p:sp>
      <p:sp>
        <p:nvSpPr>
          <p:cNvPr id="4" name="Marcador de número de diapositiva 3"/>
          <p:cNvSpPr>
            <a:spLocks noGrp="1"/>
          </p:cNvSpPr>
          <p:nvPr>
            <p:ph type="sldNum" sz="quarter" idx="5"/>
          </p:nvPr>
        </p:nvSpPr>
        <p:spPr/>
        <p:txBody>
          <a:bodyPr/>
          <a:lstStyle/>
          <a:p>
            <a:fld id="{C49C70BB-947B-4C7E-87B1-455B8E8AFCBC}" type="slidenum">
              <a:rPr lang="en-US" smtClean="0"/>
              <a:t>6</a:t>
            </a:fld>
            <a:endParaRPr lang="en-US"/>
          </a:p>
        </p:txBody>
      </p:sp>
    </p:spTree>
    <p:extLst>
      <p:ext uri="{BB962C8B-B14F-4D97-AF65-F5344CB8AC3E}">
        <p14:creationId xmlns:p14="http://schemas.microsoft.com/office/powerpoint/2010/main" val="3444404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_tradnl" noProof="0" dirty="0"/>
              <a:t>El contexto de tasas presenta un desafío para el sector pero también afecta la transición energética. Mucha inversión que se focalizó en transición energética en los últimos años de tasas bajas entra al ciclo de mayores tasas de interés con un nivel de apalancamiento que ya es alto.</a:t>
            </a:r>
          </a:p>
          <a:p>
            <a:endParaRPr lang="es-ES_tradnl" noProof="0" dirty="0"/>
          </a:p>
          <a:p>
            <a:r>
              <a:rPr lang="es-ES_tradnl" noProof="0" dirty="0"/>
              <a:t>El capital que se necesita en renovables para producir la misma unidad de energía es 5x el de la energía tradicional, pero los márgenes son más altos (ojo con margen vs TIR, la TIR puede ser menor).</a:t>
            </a:r>
          </a:p>
          <a:p>
            <a:endParaRPr lang="es-ES_tradnl" noProof="0" dirty="0"/>
          </a:p>
          <a:p>
            <a:r>
              <a:rPr lang="es-ES_tradnl" noProof="0" dirty="0"/>
              <a:t>En el caso de las empresas europeas, es más claro como empiezan a utilizar parte de sus márgenes para diversificarse en renovables y balancear su estructura de capital, apuntando a ganar flexibilidad.  Todavía parecieran estar en una etapa de adaptación donde vemos comportamientos pendulares, vuelcos a renovables y más recientemente revalorizando sus activos tradicionales.  Esa es la flexibilidad que buscan mantener.</a:t>
            </a:r>
          </a:p>
        </p:txBody>
      </p:sp>
      <p:sp>
        <p:nvSpPr>
          <p:cNvPr id="4" name="Marcador de número de diapositiva 3"/>
          <p:cNvSpPr>
            <a:spLocks noGrp="1"/>
          </p:cNvSpPr>
          <p:nvPr>
            <p:ph type="sldNum" sz="quarter" idx="5"/>
          </p:nvPr>
        </p:nvSpPr>
        <p:spPr/>
        <p:txBody>
          <a:bodyPr/>
          <a:lstStyle/>
          <a:p>
            <a:fld id="{C49C70BB-947B-4C7E-87B1-455B8E8AFCBC}" type="slidenum">
              <a:rPr lang="en-US" smtClean="0"/>
              <a:t>7</a:t>
            </a:fld>
            <a:endParaRPr lang="en-US"/>
          </a:p>
        </p:txBody>
      </p:sp>
    </p:spTree>
    <p:extLst>
      <p:ext uri="{BB962C8B-B14F-4D97-AF65-F5344CB8AC3E}">
        <p14:creationId xmlns:p14="http://schemas.microsoft.com/office/powerpoint/2010/main" val="3683947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noProof="0" dirty="0"/>
              <a:t>El mercado anticipa que los 5 grandes de Europa van a distribuir a sus accionistas el equivalente al 70% de su valor entre 2023 y 2030, sin necesidad de endeudar sus empresas para hacerlo.</a:t>
            </a:r>
          </a:p>
          <a:p>
            <a:endParaRPr lang="es-ES_tradnl" noProof="0" dirty="0"/>
          </a:p>
          <a:p>
            <a:r>
              <a:rPr lang="es-ES_tradnl" noProof="0" dirty="0"/>
              <a:t>Sin embargo, es interesante considerar que para Latinoamérica, este factor no tiene un impacto tan amplio ya que la región está dominada por entidades controladas por los gobiernos, con menores exigencias financieras que el mercado.</a:t>
            </a:r>
          </a:p>
          <a:p>
            <a:endParaRPr lang="es-ES_tradnl"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Helvetica Neue" panose="02000503000000020004" pitchFamily="2" charset="0"/>
              </a:rPr>
              <a:t>Petrobras is now targeting 6% to 15% of total CAPEX in diversification into  low carbon businesses (including petrochemicals and fertilizers)</a:t>
            </a:r>
          </a:p>
          <a:p>
            <a:endParaRPr lang="es-ES_tradnl" noProof="0" dirty="0"/>
          </a:p>
        </p:txBody>
      </p:sp>
      <p:sp>
        <p:nvSpPr>
          <p:cNvPr id="4" name="Slide Number Placeholder 3"/>
          <p:cNvSpPr>
            <a:spLocks noGrp="1"/>
          </p:cNvSpPr>
          <p:nvPr>
            <p:ph type="sldNum" sz="quarter" idx="5"/>
          </p:nvPr>
        </p:nvSpPr>
        <p:spPr/>
        <p:txBody>
          <a:bodyPr/>
          <a:lstStyle/>
          <a:p>
            <a:fld id="{C49C70BB-947B-4C7E-87B1-455B8E8AFCBC}" type="slidenum">
              <a:rPr lang="en-US" smtClean="0"/>
              <a:t>8</a:t>
            </a:fld>
            <a:endParaRPr lang="en-US"/>
          </a:p>
        </p:txBody>
      </p:sp>
    </p:spTree>
    <p:extLst>
      <p:ext uri="{BB962C8B-B14F-4D97-AF65-F5344CB8AC3E}">
        <p14:creationId xmlns:p14="http://schemas.microsoft.com/office/powerpoint/2010/main" val="499637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noProof="0" dirty="0"/>
          </a:p>
        </p:txBody>
      </p:sp>
      <p:sp>
        <p:nvSpPr>
          <p:cNvPr id="4" name="Marcador de número de diapositiva 3"/>
          <p:cNvSpPr>
            <a:spLocks noGrp="1"/>
          </p:cNvSpPr>
          <p:nvPr>
            <p:ph type="sldNum" sz="quarter" idx="5"/>
          </p:nvPr>
        </p:nvSpPr>
        <p:spPr/>
        <p:txBody>
          <a:bodyPr/>
          <a:lstStyle/>
          <a:p>
            <a:fld id="{C49C70BB-947B-4C7E-87B1-455B8E8AFCBC}" type="slidenum">
              <a:rPr lang="en-US" smtClean="0"/>
              <a:t>9</a:t>
            </a:fld>
            <a:endParaRPr lang="en-US"/>
          </a:p>
        </p:txBody>
      </p:sp>
    </p:spTree>
    <p:extLst>
      <p:ext uri="{BB962C8B-B14F-4D97-AF65-F5344CB8AC3E}">
        <p14:creationId xmlns:p14="http://schemas.microsoft.com/office/powerpoint/2010/main" val="10914240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11.jp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jp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6.jp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graphicFrame>
        <p:nvGraphicFramePr>
          <p:cNvPr id="73" name="Objeto 72" hidden="1">
            <a:extLst>
              <a:ext uri="{FF2B5EF4-FFF2-40B4-BE49-F238E27FC236}">
                <a16:creationId xmlns:a16="http://schemas.microsoft.com/office/drawing/2014/main" id="{9D9CF1EB-BAD6-6144-99F1-8567A0D6F798}"/>
              </a:ext>
            </a:extLst>
          </p:cNvPr>
          <p:cNvGraphicFramePr>
            <a:graphicFrameLocks noChangeAspect="1"/>
          </p:cNvGraphicFramePr>
          <p:nvPr userDrawn="1">
            <p:custDataLst>
              <p:tags r:id="rId1"/>
            </p:custDataLst>
            <p:extLst>
              <p:ext uri="{D42A27DB-BD31-4B8C-83A1-F6EECF244321}">
                <p14:modId xmlns:p14="http://schemas.microsoft.com/office/powerpoint/2010/main" val="3820472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011A9DBA-78BF-4744-B55A-53F587888876}"/>
              </a:ext>
            </a:extLst>
          </p:cNvPr>
          <p:cNvSpPr>
            <a:spLocks noGrp="1"/>
          </p:cNvSpPr>
          <p:nvPr>
            <p:ph type="body" sz="quarter" idx="11" hasCustomPrompt="1"/>
          </p:nvPr>
        </p:nvSpPr>
        <p:spPr>
          <a:xfrm rot="16200000">
            <a:off x="10733875" y="955653"/>
            <a:ext cx="2068177" cy="461665"/>
          </a:xfrm>
          <a:noFill/>
        </p:spPr>
        <p:txBody>
          <a:bodyPr wrap="square" lIns="0" tIns="0" rIns="0" bIns="0" rtlCol="0" anchor="b">
            <a:noAutofit/>
          </a:bodyPr>
          <a:lstStyle>
            <a:lvl1pPr marL="0" indent="0" algn="r">
              <a:spcBef>
                <a:spcPts val="0"/>
              </a:spcBef>
              <a:spcAft>
                <a:spcPts val="0"/>
              </a:spcAft>
              <a:buNone/>
              <a:defRPr lang="en-US" sz="1200" cap="all" spc="300" baseline="0" dirty="0">
                <a:solidFill>
                  <a:schemeClr val="accent2"/>
                </a:solidFill>
                <a:cs typeface="+mn-cs"/>
              </a:defRPr>
            </a:lvl1pPr>
          </a:lstStyle>
          <a:p>
            <a:pPr marL="0" lvl="0"/>
            <a:r>
              <a:rPr lang="en-US" dirty="0"/>
              <a:t>date</a:t>
            </a:r>
          </a:p>
        </p:txBody>
      </p:sp>
      <p:sp>
        <p:nvSpPr>
          <p:cNvPr id="12" name="Text Placeholder 11">
            <a:extLst>
              <a:ext uri="{FF2B5EF4-FFF2-40B4-BE49-F238E27FC236}">
                <a16:creationId xmlns:a16="http://schemas.microsoft.com/office/drawing/2014/main" id="{A1AAE4A2-D78E-4A82-8CDE-2529AC861230}"/>
              </a:ext>
            </a:extLst>
          </p:cNvPr>
          <p:cNvSpPr>
            <a:spLocks noGrp="1"/>
          </p:cNvSpPr>
          <p:nvPr>
            <p:ph type="body" sz="quarter" idx="12" hasCustomPrompt="1"/>
          </p:nvPr>
        </p:nvSpPr>
        <p:spPr>
          <a:xfrm>
            <a:off x="940828" y="4114803"/>
            <a:ext cx="4055521" cy="2122485"/>
          </a:xfrm>
          <a:noFill/>
        </p:spPr>
        <p:txBody>
          <a:bodyPr wrap="square" lIns="0" tIns="0" rIns="0" bIns="45720" rtlCol="0">
            <a:noAutofit/>
          </a:bodyPr>
          <a:lstStyle>
            <a:lvl1pPr marL="0" indent="0">
              <a:spcBef>
                <a:spcPts val="0"/>
              </a:spcBef>
              <a:spcAft>
                <a:spcPts val="0"/>
              </a:spcAft>
              <a:buNone/>
              <a:defRPr lang="en-US" sz="3200" b="1" i="0" spc="0" dirty="0">
                <a:solidFill>
                  <a:schemeClr val="accent2"/>
                </a:solidFill>
                <a:latin typeface="+mj-lt"/>
                <a:cs typeface="Poppins" pitchFamily="2" charset="77"/>
              </a:defRPr>
            </a:lvl1pPr>
          </a:lstStyle>
          <a:p>
            <a:pPr marL="0" lvl="0"/>
            <a:r>
              <a:rPr lang="en-US" dirty="0"/>
              <a:t>Name</a:t>
            </a:r>
          </a:p>
        </p:txBody>
      </p:sp>
      <p:sp>
        <p:nvSpPr>
          <p:cNvPr id="17" name="Slide Number Placeholder 16">
            <a:extLst>
              <a:ext uri="{FF2B5EF4-FFF2-40B4-BE49-F238E27FC236}">
                <a16:creationId xmlns:a16="http://schemas.microsoft.com/office/drawing/2014/main" id="{1CEAA216-E541-4FAD-B57C-7D003159BA9D}"/>
              </a:ext>
            </a:extLst>
          </p:cNvPr>
          <p:cNvSpPr>
            <a:spLocks noGrp="1"/>
          </p:cNvSpPr>
          <p:nvPr>
            <p:ph type="sldNum" sz="quarter" idx="14"/>
          </p:nvPr>
        </p:nvSpPr>
        <p:spPr/>
        <p:txBody>
          <a:bodyPr/>
          <a:lstStyle>
            <a:lvl1pPr>
              <a:defRPr>
                <a:latin typeface="+mn-lt"/>
              </a:defRPr>
            </a:lvl1pPr>
          </a:lstStyle>
          <a:p>
            <a:fld id="{9F427BA5-3988-40EC-8E11-9F7B5510E66B}" type="slidenum">
              <a:rPr lang="en-GB" smtClean="0"/>
              <a:pPr/>
              <a:t>‹#›</a:t>
            </a:fld>
            <a:endParaRPr lang="en-GB"/>
          </a:p>
        </p:txBody>
      </p:sp>
      <p:grpSp>
        <p:nvGrpSpPr>
          <p:cNvPr id="2" name="Gráfico 29">
            <a:extLst>
              <a:ext uri="{FF2B5EF4-FFF2-40B4-BE49-F238E27FC236}">
                <a16:creationId xmlns:a16="http://schemas.microsoft.com/office/drawing/2014/main" id="{FD6E4C19-B339-E74C-BFDD-1D0E04BA513B}"/>
              </a:ext>
            </a:extLst>
          </p:cNvPr>
          <p:cNvGrpSpPr/>
          <p:nvPr userDrawn="1"/>
        </p:nvGrpSpPr>
        <p:grpSpPr>
          <a:xfrm>
            <a:off x="940828" y="2276043"/>
            <a:ext cx="4055521" cy="881893"/>
            <a:chOff x="575921" y="2690945"/>
            <a:chExt cx="4055521" cy="881893"/>
          </a:xfrm>
        </p:grpSpPr>
        <p:sp>
          <p:nvSpPr>
            <p:cNvPr id="8" name="Forma libre 7">
              <a:extLst>
                <a:ext uri="{FF2B5EF4-FFF2-40B4-BE49-F238E27FC236}">
                  <a16:creationId xmlns:a16="http://schemas.microsoft.com/office/drawing/2014/main" id="{A467DE03-7F19-8643-98ED-2E8E20DB12ED}"/>
                </a:ext>
              </a:extLst>
            </p:cNvPr>
            <p:cNvSpPr/>
            <p:nvPr/>
          </p:nvSpPr>
          <p:spPr>
            <a:xfrm>
              <a:off x="575921" y="2690945"/>
              <a:ext cx="745113" cy="878286"/>
            </a:xfrm>
            <a:custGeom>
              <a:avLst/>
              <a:gdLst>
                <a:gd name="connsiteX0" fmla="*/ 0 w 745113"/>
                <a:gd name="connsiteY0" fmla="*/ 793524 h 878286"/>
                <a:gd name="connsiteX1" fmla="*/ 426038 w 745113"/>
                <a:gd name="connsiteY1" fmla="*/ 0 h 878286"/>
                <a:gd name="connsiteX2" fmla="*/ 745114 w 745113"/>
                <a:gd name="connsiteY2" fmla="*/ 600554 h 878286"/>
                <a:gd name="connsiteX3" fmla="*/ 598266 w 745113"/>
                <a:gd name="connsiteY3" fmla="*/ 551860 h 878286"/>
                <a:gd name="connsiteX4" fmla="*/ 426038 w 745113"/>
                <a:gd name="connsiteY4" fmla="*/ 229040 h 878286"/>
                <a:gd name="connsiteX5" fmla="*/ 76143 w 745113"/>
                <a:gd name="connsiteY5" fmla="*/ 878287 h 87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5113" h="878286">
                  <a:moveTo>
                    <a:pt x="0" y="793524"/>
                  </a:moveTo>
                  <a:lnTo>
                    <a:pt x="426038" y="0"/>
                  </a:lnTo>
                  <a:lnTo>
                    <a:pt x="745114" y="600554"/>
                  </a:lnTo>
                  <a:lnTo>
                    <a:pt x="598266" y="551860"/>
                  </a:lnTo>
                  <a:lnTo>
                    <a:pt x="426038" y="229040"/>
                  </a:lnTo>
                  <a:lnTo>
                    <a:pt x="76143" y="878287"/>
                  </a:lnTo>
                  <a:close/>
                </a:path>
              </a:pathLst>
            </a:custGeom>
            <a:solidFill>
              <a:srgbClr val="2982A3"/>
            </a:solidFill>
            <a:ln w="18105" cap="flat">
              <a:noFill/>
              <a:prstDash val="solid"/>
              <a:miter/>
            </a:ln>
          </p:spPr>
          <p:txBody>
            <a:bodyPr rtlCol="0" anchor="ctr"/>
            <a:lstStyle/>
            <a:p>
              <a:endParaRPr lang="en-US"/>
            </a:p>
          </p:txBody>
        </p:sp>
        <p:sp>
          <p:nvSpPr>
            <p:cNvPr id="10" name="Forma libre 9">
              <a:extLst>
                <a:ext uri="{FF2B5EF4-FFF2-40B4-BE49-F238E27FC236}">
                  <a16:creationId xmlns:a16="http://schemas.microsoft.com/office/drawing/2014/main" id="{66EABE30-5285-ED42-BC14-B9BFF2E933BB}"/>
                </a:ext>
              </a:extLst>
            </p:cNvPr>
            <p:cNvSpPr/>
            <p:nvPr/>
          </p:nvSpPr>
          <p:spPr>
            <a:xfrm>
              <a:off x="875054" y="2690945"/>
              <a:ext cx="672596" cy="793524"/>
            </a:xfrm>
            <a:custGeom>
              <a:avLst/>
              <a:gdLst>
                <a:gd name="connsiteX0" fmla="*/ 184919 w 672596"/>
                <a:gd name="connsiteY0" fmla="*/ 512184 h 793524"/>
                <a:gd name="connsiteX1" fmla="*/ 445980 w 672596"/>
                <a:gd name="connsiteY1" fmla="*/ 600554 h 793524"/>
                <a:gd name="connsiteX2" fmla="*/ 126905 w 672596"/>
                <a:gd name="connsiteY2" fmla="*/ 0 h 793524"/>
                <a:gd name="connsiteX3" fmla="*/ 248371 w 672596"/>
                <a:gd name="connsiteY3" fmla="*/ 0 h 793524"/>
                <a:gd name="connsiteX4" fmla="*/ 672597 w 672596"/>
                <a:gd name="connsiteY4" fmla="*/ 793524 h 793524"/>
                <a:gd name="connsiteX5" fmla="*/ 186732 w 672596"/>
                <a:gd name="connsiteY5" fmla="*/ 625802 h 793524"/>
                <a:gd name="connsiteX6" fmla="*/ 0 w 672596"/>
                <a:gd name="connsiteY6" fmla="*/ 694334 h 793524"/>
                <a:gd name="connsiteX7" fmla="*/ 76143 w 672596"/>
                <a:gd name="connsiteY7" fmla="*/ 550057 h 79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596" h="793524">
                  <a:moveTo>
                    <a:pt x="184919" y="512184"/>
                  </a:moveTo>
                  <a:lnTo>
                    <a:pt x="445980" y="600554"/>
                  </a:lnTo>
                  <a:lnTo>
                    <a:pt x="126905" y="0"/>
                  </a:lnTo>
                  <a:lnTo>
                    <a:pt x="248371" y="0"/>
                  </a:lnTo>
                  <a:lnTo>
                    <a:pt x="672597" y="793524"/>
                  </a:lnTo>
                  <a:lnTo>
                    <a:pt x="186732" y="625802"/>
                  </a:lnTo>
                  <a:lnTo>
                    <a:pt x="0" y="694334"/>
                  </a:lnTo>
                  <a:lnTo>
                    <a:pt x="76143" y="550057"/>
                  </a:lnTo>
                  <a:close/>
                </a:path>
              </a:pathLst>
            </a:custGeom>
            <a:solidFill>
              <a:srgbClr val="232E47"/>
            </a:solidFill>
            <a:ln w="18105" cap="flat">
              <a:noFill/>
              <a:prstDash val="solid"/>
              <a:miter/>
            </a:ln>
          </p:spPr>
          <p:txBody>
            <a:bodyPr rtlCol="0" anchor="ctr"/>
            <a:lstStyle/>
            <a:p>
              <a:endParaRPr lang="en-US"/>
            </a:p>
          </p:txBody>
        </p:sp>
        <p:sp>
          <p:nvSpPr>
            <p:cNvPr id="11" name="Forma libre 10">
              <a:extLst>
                <a:ext uri="{FF2B5EF4-FFF2-40B4-BE49-F238E27FC236}">
                  <a16:creationId xmlns:a16="http://schemas.microsoft.com/office/drawing/2014/main" id="{2EE7E0F5-98B7-C341-A593-7AEDEF23C0E7}"/>
                </a:ext>
              </a:extLst>
            </p:cNvPr>
            <p:cNvSpPr/>
            <p:nvPr/>
          </p:nvSpPr>
          <p:spPr>
            <a:xfrm>
              <a:off x="652064" y="2919984"/>
              <a:ext cx="895586" cy="652853"/>
            </a:xfrm>
            <a:custGeom>
              <a:avLst/>
              <a:gdLst>
                <a:gd name="connsiteX0" fmla="*/ 349895 w 895586"/>
                <a:gd name="connsiteY0" fmla="*/ 0 h 652853"/>
                <a:gd name="connsiteX1" fmla="*/ 409722 w 895586"/>
                <a:gd name="connsiteY1" fmla="*/ 115422 h 652853"/>
                <a:gd name="connsiteX2" fmla="*/ 222990 w 895586"/>
                <a:gd name="connsiteY2" fmla="*/ 465294 h 652853"/>
                <a:gd name="connsiteX3" fmla="*/ 409722 w 895586"/>
                <a:gd name="connsiteY3" fmla="*/ 396762 h 652853"/>
                <a:gd name="connsiteX4" fmla="*/ 895587 w 895586"/>
                <a:gd name="connsiteY4" fmla="*/ 564484 h 652853"/>
                <a:gd name="connsiteX5" fmla="*/ 821257 w 895586"/>
                <a:gd name="connsiteY5" fmla="*/ 652854 h 652853"/>
                <a:gd name="connsiteX6" fmla="*/ 407909 w 895586"/>
                <a:gd name="connsiteY6" fmla="*/ 510380 h 652853"/>
                <a:gd name="connsiteX7" fmla="*/ 0 w 895586"/>
                <a:gd name="connsiteY7" fmla="*/ 649247 h 6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86" h="652853">
                  <a:moveTo>
                    <a:pt x="349895" y="0"/>
                  </a:moveTo>
                  <a:lnTo>
                    <a:pt x="409722" y="115422"/>
                  </a:lnTo>
                  <a:lnTo>
                    <a:pt x="222990" y="465294"/>
                  </a:lnTo>
                  <a:lnTo>
                    <a:pt x="409722" y="396762"/>
                  </a:lnTo>
                  <a:lnTo>
                    <a:pt x="895587" y="564484"/>
                  </a:lnTo>
                  <a:lnTo>
                    <a:pt x="821257" y="652854"/>
                  </a:lnTo>
                  <a:lnTo>
                    <a:pt x="407909" y="510380"/>
                  </a:lnTo>
                  <a:lnTo>
                    <a:pt x="0" y="649247"/>
                  </a:lnTo>
                  <a:close/>
                </a:path>
              </a:pathLst>
            </a:custGeom>
            <a:solidFill>
              <a:srgbClr val="224F70"/>
            </a:solidFill>
            <a:ln w="18105" cap="flat">
              <a:noFill/>
              <a:prstDash val="solid"/>
              <a:miter/>
            </a:ln>
          </p:spPr>
          <p:txBody>
            <a:bodyPr rtlCol="0" anchor="ctr"/>
            <a:lstStyle/>
            <a:p>
              <a:endParaRPr lang="en-US"/>
            </a:p>
          </p:txBody>
        </p:sp>
        <p:grpSp>
          <p:nvGrpSpPr>
            <p:cNvPr id="14" name="Gráfico 29">
              <a:extLst>
                <a:ext uri="{FF2B5EF4-FFF2-40B4-BE49-F238E27FC236}">
                  <a16:creationId xmlns:a16="http://schemas.microsoft.com/office/drawing/2014/main" id="{F8B1721D-E771-3146-9CD0-F43940F9083E}"/>
                </a:ext>
              </a:extLst>
            </p:cNvPr>
            <p:cNvGrpSpPr/>
            <p:nvPr/>
          </p:nvGrpSpPr>
          <p:grpSpPr>
            <a:xfrm>
              <a:off x="1741634" y="2743245"/>
              <a:ext cx="2889808" cy="800737"/>
              <a:chOff x="1741634" y="2743245"/>
              <a:chExt cx="2889808" cy="800737"/>
            </a:xfrm>
          </p:grpSpPr>
          <p:sp>
            <p:nvSpPr>
              <p:cNvPr id="15" name="Forma libre 14">
                <a:extLst>
                  <a:ext uri="{FF2B5EF4-FFF2-40B4-BE49-F238E27FC236}">
                    <a16:creationId xmlns:a16="http://schemas.microsoft.com/office/drawing/2014/main" id="{376D991D-F034-CC47-B2B1-C8B596510341}"/>
                  </a:ext>
                </a:extLst>
              </p:cNvPr>
              <p:cNvSpPr/>
              <p:nvPr/>
            </p:nvSpPr>
            <p:spPr>
              <a:xfrm>
                <a:off x="1741634" y="3387082"/>
                <a:ext cx="70704" cy="155097"/>
              </a:xfrm>
              <a:custGeom>
                <a:avLst/>
                <a:gdLst>
                  <a:gd name="connsiteX0" fmla="*/ 14503 w 70704"/>
                  <a:gd name="connsiteY0" fmla="*/ 142474 h 155097"/>
                  <a:gd name="connsiteX1" fmla="*/ 70704 w 70704"/>
                  <a:gd name="connsiteY1" fmla="*/ 142474 h 155097"/>
                  <a:gd name="connsiteX2" fmla="*/ 70704 w 70704"/>
                  <a:gd name="connsiteY2" fmla="*/ 155098 h 155097"/>
                  <a:gd name="connsiteX3" fmla="*/ 0 w 70704"/>
                  <a:gd name="connsiteY3" fmla="*/ 155098 h 155097"/>
                  <a:gd name="connsiteX4" fmla="*/ 0 w 70704"/>
                  <a:gd name="connsiteY4" fmla="*/ 0 h 155097"/>
                  <a:gd name="connsiteX5" fmla="*/ 14503 w 70704"/>
                  <a:gd name="connsiteY5" fmla="*/ 0 h 15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04" h="155097">
                    <a:moveTo>
                      <a:pt x="14503" y="142474"/>
                    </a:moveTo>
                    <a:lnTo>
                      <a:pt x="70704" y="142474"/>
                    </a:lnTo>
                    <a:lnTo>
                      <a:pt x="70704" y="155098"/>
                    </a:lnTo>
                    <a:lnTo>
                      <a:pt x="0" y="155098"/>
                    </a:lnTo>
                    <a:lnTo>
                      <a:pt x="0" y="0"/>
                    </a:lnTo>
                    <a:lnTo>
                      <a:pt x="14503" y="0"/>
                    </a:lnTo>
                    <a:close/>
                  </a:path>
                </a:pathLst>
              </a:custGeom>
              <a:solidFill>
                <a:srgbClr val="224F70"/>
              </a:solidFill>
              <a:ln w="18105" cap="flat">
                <a:noFill/>
                <a:prstDash val="solid"/>
                <a:miter/>
              </a:ln>
            </p:spPr>
            <p:txBody>
              <a:bodyPr rtlCol="0" anchor="ctr"/>
              <a:lstStyle/>
              <a:p>
                <a:endParaRPr lang="en-US"/>
              </a:p>
            </p:txBody>
          </p:sp>
          <p:sp>
            <p:nvSpPr>
              <p:cNvPr id="31" name="Forma libre 30">
                <a:extLst>
                  <a:ext uri="{FF2B5EF4-FFF2-40B4-BE49-F238E27FC236}">
                    <a16:creationId xmlns:a16="http://schemas.microsoft.com/office/drawing/2014/main" id="{32D392D0-FEDA-2348-9EBF-56C55A0F767D}"/>
                  </a:ext>
                </a:extLst>
              </p:cNvPr>
              <p:cNvSpPr/>
              <p:nvPr/>
            </p:nvSpPr>
            <p:spPr>
              <a:xfrm>
                <a:off x="1928366" y="3388885"/>
                <a:ext cx="130530" cy="151490"/>
              </a:xfrm>
              <a:custGeom>
                <a:avLst/>
                <a:gdLst>
                  <a:gd name="connsiteX0" fmla="*/ 99711 w 130530"/>
                  <a:gd name="connsiteY0" fmla="*/ 115422 h 151490"/>
                  <a:gd name="connsiteX1" fmla="*/ 29007 w 130530"/>
                  <a:gd name="connsiteY1" fmla="*/ 115422 h 151490"/>
                  <a:gd name="connsiteX2" fmla="*/ 16316 w 130530"/>
                  <a:gd name="connsiteY2" fmla="*/ 151491 h 151490"/>
                  <a:gd name="connsiteX3" fmla="*/ 0 w 130530"/>
                  <a:gd name="connsiteY3" fmla="*/ 151491 h 151490"/>
                  <a:gd name="connsiteX4" fmla="*/ 56201 w 130530"/>
                  <a:gd name="connsiteY4" fmla="*/ 0 h 151490"/>
                  <a:gd name="connsiteX5" fmla="*/ 74330 w 130530"/>
                  <a:gd name="connsiteY5" fmla="*/ 0 h 151490"/>
                  <a:gd name="connsiteX6" fmla="*/ 130531 w 130530"/>
                  <a:gd name="connsiteY6" fmla="*/ 151491 h 151490"/>
                  <a:gd name="connsiteX7" fmla="*/ 114215 w 130530"/>
                  <a:gd name="connsiteY7" fmla="*/ 151491 h 151490"/>
                  <a:gd name="connsiteX8" fmla="*/ 99711 w 130530"/>
                  <a:gd name="connsiteY8" fmla="*/ 115422 h 151490"/>
                  <a:gd name="connsiteX9" fmla="*/ 94272 w 130530"/>
                  <a:gd name="connsiteY9" fmla="*/ 102797 h 151490"/>
                  <a:gd name="connsiteX10" fmla="*/ 65266 w 130530"/>
                  <a:gd name="connsiteY10" fmla="*/ 19838 h 151490"/>
                  <a:gd name="connsiteX11" fmla="*/ 34446 w 130530"/>
                  <a:gd name="connsiteY11" fmla="*/ 102797 h 151490"/>
                  <a:gd name="connsiteX12" fmla="*/ 94272 w 130530"/>
                  <a:gd name="connsiteY12" fmla="*/ 102797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530" h="151490">
                    <a:moveTo>
                      <a:pt x="99711" y="115422"/>
                    </a:moveTo>
                    <a:lnTo>
                      <a:pt x="29007" y="115422"/>
                    </a:lnTo>
                    <a:lnTo>
                      <a:pt x="16316" y="151491"/>
                    </a:lnTo>
                    <a:lnTo>
                      <a:pt x="0" y="151491"/>
                    </a:lnTo>
                    <a:lnTo>
                      <a:pt x="56201" y="0"/>
                    </a:lnTo>
                    <a:lnTo>
                      <a:pt x="74330" y="0"/>
                    </a:lnTo>
                    <a:lnTo>
                      <a:pt x="130531" y="151491"/>
                    </a:lnTo>
                    <a:lnTo>
                      <a:pt x="114215" y="151491"/>
                    </a:lnTo>
                    <a:lnTo>
                      <a:pt x="99711" y="115422"/>
                    </a:lnTo>
                    <a:close/>
                    <a:moveTo>
                      <a:pt x="94272" y="102797"/>
                    </a:moveTo>
                    <a:lnTo>
                      <a:pt x="65266" y="19838"/>
                    </a:lnTo>
                    <a:lnTo>
                      <a:pt x="34446" y="102797"/>
                    </a:lnTo>
                    <a:lnTo>
                      <a:pt x="94272" y="102797"/>
                    </a:lnTo>
                    <a:close/>
                  </a:path>
                </a:pathLst>
              </a:custGeom>
              <a:solidFill>
                <a:srgbClr val="224F70"/>
              </a:solidFill>
              <a:ln w="18105" cap="flat">
                <a:noFill/>
                <a:prstDash val="solid"/>
                <a:miter/>
              </a:ln>
            </p:spPr>
            <p:txBody>
              <a:bodyPr rtlCol="0" anchor="ctr"/>
              <a:lstStyle/>
              <a:p>
                <a:endParaRPr lang="en-US"/>
              </a:p>
            </p:txBody>
          </p:sp>
          <p:sp>
            <p:nvSpPr>
              <p:cNvPr id="32" name="Forma libre 31">
                <a:extLst>
                  <a:ext uri="{FF2B5EF4-FFF2-40B4-BE49-F238E27FC236}">
                    <a16:creationId xmlns:a16="http://schemas.microsoft.com/office/drawing/2014/main" id="{2FD8151F-1F53-BB46-B70B-A504E463A489}"/>
                  </a:ext>
                </a:extLst>
              </p:cNvPr>
              <p:cNvSpPr/>
              <p:nvPr/>
            </p:nvSpPr>
            <p:spPr>
              <a:xfrm>
                <a:off x="2174924" y="3387082"/>
                <a:ext cx="101523" cy="155097"/>
              </a:xfrm>
              <a:custGeom>
                <a:avLst/>
                <a:gdLst>
                  <a:gd name="connsiteX0" fmla="*/ 101524 w 101523"/>
                  <a:gd name="connsiteY0" fmla="*/ 0 h 155097"/>
                  <a:gd name="connsiteX1" fmla="*/ 101524 w 101523"/>
                  <a:gd name="connsiteY1" fmla="*/ 14428 h 155097"/>
                  <a:gd name="connsiteX2" fmla="*/ 59827 w 101523"/>
                  <a:gd name="connsiteY2" fmla="*/ 14428 h 155097"/>
                  <a:gd name="connsiteX3" fmla="*/ 59827 w 101523"/>
                  <a:gd name="connsiteY3" fmla="*/ 155098 h 155097"/>
                  <a:gd name="connsiteX4" fmla="*/ 43510 w 101523"/>
                  <a:gd name="connsiteY4" fmla="*/ 155098 h 155097"/>
                  <a:gd name="connsiteX5" fmla="*/ 43510 w 101523"/>
                  <a:gd name="connsiteY5" fmla="*/ 14428 h 155097"/>
                  <a:gd name="connsiteX6" fmla="*/ 0 w 101523"/>
                  <a:gd name="connsiteY6" fmla="*/ 14428 h 155097"/>
                  <a:gd name="connsiteX7" fmla="*/ 0 w 101523"/>
                  <a:gd name="connsiteY7" fmla="*/ 0 h 15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523" h="155097">
                    <a:moveTo>
                      <a:pt x="101524" y="0"/>
                    </a:moveTo>
                    <a:lnTo>
                      <a:pt x="101524" y="14428"/>
                    </a:lnTo>
                    <a:lnTo>
                      <a:pt x="59827" y="14428"/>
                    </a:lnTo>
                    <a:lnTo>
                      <a:pt x="59827" y="155098"/>
                    </a:lnTo>
                    <a:lnTo>
                      <a:pt x="43510" y="155098"/>
                    </a:lnTo>
                    <a:lnTo>
                      <a:pt x="43510" y="14428"/>
                    </a:lnTo>
                    <a:lnTo>
                      <a:pt x="0" y="14428"/>
                    </a:lnTo>
                    <a:lnTo>
                      <a:pt x="0" y="0"/>
                    </a:lnTo>
                    <a:close/>
                  </a:path>
                </a:pathLst>
              </a:custGeom>
              <a:solidFill>
                <a:srgbClr val="224F70"/>
              </a:solidFill>
              <a:ln w="18105" cap="flat">
                <a:noFill/>
                <a:prstDash val="solid"/>
                <a:miter/>
              </a:ln>
            </p:spPr>
            <p:txBody>
              <a:bodyPr rtlCol="0" anchor="ctr"/>
              <a:lstStyle/>
              <a:p>
                <a:endParaRPr lang="en-US"/>
              </a:p>
            </p:txBody>
          </p:sp>
          <p:sp>
            <p:nvSpPr>
              <p:cNvPr id="33" name="Forma libre 32">
                <a:extLst>
                  <a:ext uri="{FF2B5EF4-FFF2-40B4-BE49-F238E27FC236}">
                    <a16:creationId xmlns:a16="http://schemas.microsoft.com/office/drawing/2014/main" id="{0B4C8B62-9162-514C-8CCF-E97F6884D027}"/>
                  </a:ext>
                </a:extLst>
              </p:cNvPr>
              <p:cNvSpPr/>
              <p:nvPr/>
            </p:nvSpPr>
            <p:spPr>
              <a:xfrm>
                <a:off x="2405166" y="3387082"/>
                <a:ext cx="16316" cy="153294"/>
              </a:xfrm>
              <a:custGeom>
                <a:avLst/>
                <a:gdLst>
                  <a:gd name="connsiteX0" fmla="*/ 0 w 16316"/>
                  <a:gd name="connsiteY0" fmla="*/ 0 h 153294"/>
                  <a:gd name="connsiteX1" fmla="*/ 16316 w 16316"/>
                  <a:gd name="connsiteY1" fmla="*/ 0 h 153294"/>
                  <a:gd name="connsiteX2" fmla="*/ 16316 w 16316"/>
                  <a:gd name="connsiteY2" fmla="*/ 153294 h 153294"/>
                  <a:gd name="connsiteX3" fmla="*/ 0 w 16316"/>
                  <a:gd name="connsiteY3" fmla="*/ 153294 h 153294"/>
                </a:gdLst>
                <a:ahLst/>
                <a:cxnLst>
                  <a:cxn ang="0">
                    <a:pos x="connsiteX0" y="connsiteY0"/>
                  </a:cxn>
                  <a:cxn ang="0">
                    <a:pos x="connsiteX1" y="connsiteY1"/>
                  </a:cxn>
                  <a:cxn ang="0">
                    <a:pos x="connsiteX2" y="connsiteY2"/>
                  </a:cxn>
                  <a:cxn ang="0">
                    <a:pos x="connsiteX3" y="connsiteY3"/>
                  </a:cxn>
                </a:cxnLst>
                <a:rect l="l" t="t" r="r" b="b"/>
                <a:pathLst>
                  <a:path w="16316" h="153294">
                    <a:moveTo>
                      <a:pt x="0" y="0"/>
                    </a:moveTo>
                    <a:lnTo>
                      <a:pt x="16316" y="0"/>
                    </a:lnTo>
                    <a:lnTo>
                      <a:pt x="16316" y="153294"/>
                    </a:lnTo>
                    <a:lnTo>
                      <a:pt x="0" y="153294"/>
                    </a:lnTo>
                    <a:close/>
                  </a:path>
                </a:pathLst>
              </a:custGeom>
              <a:solidFill>
                <a:srgbClr val="224F70"/>
              </a:solidFill>
              <a:ln w="18105" cap="flat">
                <a:noFill/>
                <a:prstDash val="solid"/>
                <a:miter/>
              </a:ln>
            </p:spPr>
            <p:txBody>
              <a:bodyPr rtlCol="0" anchor="ctr"/>
              <a:lstStyle/>
              <a:p>
                <a:endParaRPr lang="en-US"/>
              </a:p>
            </p:txBody>
          </p:sp>
          <p:sp>
            <p:nvSpPr>
              <p:cNvPr id="34" name="Forma libre 33">
                <a:extLst>
                  <a:ext uri="{FF2B5EF4-FFF2-40B4-BE49-F238E27FC236}">
                    <a16:creationId xmlns:a16="http://schemas.microsoft.com/office/drawing/2014/main" id="{A77FAE8A-0F12-614C-9FD0-2C4153D5E8CA}"/>
                  </a:ext>
                </a:extLst>
              </p:cNvPr>
              <p:cNvSpPr/>
              <p:nvPr/>
            </p:nvSpPr>
            <p:spPr>
              <a:xfrm>
                <a:off x="2561078" y="3387082"/>
                <a:ext cx="116027" cy="155097"/>
              </a:xfrm>
              <a:custGeom>
                <a:avLst/>
                <a:gdLst>
                  <a:gd name="connsiteX0" fmla="*/ 116027 w 116027"/>
                  <a:gd name="connsiteY0" fmla="*/ 155098 h 155097"/>
                  <a:gd name="connsiteX1" fmla="*/ 99711 w 116027"/>
                  <a:gd name="connsiteY1" fmla="*/ 155098 h 155097"/>
                  <a:gd name="connsiteX2" fmla="*/ 14503 w 116027"/>
                  <a:gd name="connsiteY2" fmla="*/ 25249 h 155097"/>
                  <a:gd name="connsiteX3" fmla="*/ 14503 w 116027"/>
                  <a:gd name="connsiteY3" fmla="*/ 155098 h 155097"/>
                  <a:gd name="connsiteX4" fmla="*/ 0 w 116027"/>
                  <a:gd name="connsiteY4" fmla="*/ 155098 h 155097"/>
                  <a:gd name="connsiteX5" fmla="*/ 0 w 116027"/>
                  <a:gd name="connsiteY5" fmla="*/ 0 h 155097"/>
                  <a:gd name="connsiteX6" fmla="*/ 14503 w 116027"/>
                  <a:gd name="connsiteY6" fmla="*/ 0 h 155097"/>
                  <a:gd name="connsiteX7" fmla="*/ 99711 w 116027"/>
                  <a:gd name="connsiteY7" fmla="*/ 129849 h 155097"/>
                  <a:gd name="connsiteX8" fmla="*/ 99711 w 116027"/>
                  <a:gd name="connsiteY8" fmla="*/ 0 h 155097"/>
                  <a:gd name="connsiteX9" fmla="*/ 116027 w 116027"/>
                  <a:gd name="connsiteY9" fmla="*/ 0 h 15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027" h="155097">
                    <a:moveTo>
                      <a:pt x="116027" y="155098"/>
                    </a:moveTo>
                    <a:lnTo>
                      <a:pt x="99711" y="155098"/>
                    </a:lnTo>
                    <a:lnTo>
                      <a:pt x="14503" y="25249"/>
                    </a:lnTo>
                    <a:lnTo>
                      <a:pt x="14503" y="155098"/>
                    </a:lnTo>
                    <a:lnTo>
                      <a:pt x="0" y="155098"/>
                    </a:lnTo>
                    <a:lnTo>
                      <a:pt x="0" y="0"/>
                    </a:lnTo>
                    <a:lnTo>
                      <a:pt x="14503" y="0"/>
                    </a:lnTo>
                    <a:lnTo>
                      <a:pt x="99711" y="129849"/>
                    </a:lnTo>
                    <a:lnTo>
                      <a:pt x="99711" y="0"/>
                    </a:lnTo>
                    <a:lnTo>
                      <a:pt x="116027" y="0"/>
                    </a:lnTo>
                    <a:close/>
                  </a:path>
                </a:pathLst>
              </a:custGeom>
              <a:solidFill>
                <a:srgbClr val="224F70"/>
              </a:solidFill>
              <a:ln w="18105" cap="flat">
                <a:noFill/>
                <a:prstDash val="solid"/>
                <a:miter/>
              </a:ln>
            </p:spPr>
            <p:txBody>
              <a:bodyPr rtlCol="0" anchor="ctr"/>
              <a:lstStyle/>
              <a:p>
                <a:endParaRPr lang="en-US"/>
              </a:p>
            </p:txBody>
          </p:sp>
          <p:sp>
            <p:nvSpPr>
              <p:cNvPr id="35" name="Forma libre 34">
                <a:extLst>
                  <a:ext uri="{FF2B5EF4-FFF2-40B4-BE49-F238E27FC236}">
                    <a16:creationId xmlns:a16="http://schemas.microsoft.com/office/drawing/2014/main" id="{F3AA0DD6-A35F-6343-A207-14F049CEBDE7}"/>
                  </a:ext>
                </a:extLst>
              </p:cNvPr>
              <p:cNvSpPr/>
              <p:nvPr/>
            </p:nvSpPr>
            <p:spPr>
              <a:xfrm>
                <a:off x="2807636" y="3387082"/>
                <a:ext cx="152286" cy="156901"/>
              </a:xfrm>
              <a:custGeom>
                <a:avLst/>
                <a:gdLst>
                  <a:gd name="connsiteX0" fmla="*/ 38072 w 152286"/>
                  <a:gd name="connsiteY0" fmla="*/ 146081 h 156901"/>
                  <a:gd name="connsiteX1" fmla="*/ 10878 w 152286"/>
                  <a:gd name="connsiteY1" fmla="*/ 119029 h 156901"/>
                  <a:gd name="connsiteX2" fmla="*/ 0 w 152286"/>
                  <a:gd name="connsiteY2" fmla="*/ 79352 h 156901"/>
                  <a:gd name="connsiteX3" fmla="*/ 10878 w 152286"/>
                  <a:gd name="connsiteY3" fmla="*/ 37873 h 156901"/>
                  <a:gd name="connsiteX4" fmla="*/ 38072 w 152286"/>
                  <a:gd name="connsiteY4" fmla="*/ 10821 h 156901"/>
                  <a:gd name="connsiteX5" fmla="*/ 76143 w 152286"/>
                  <a:gd name="connsiteY5" fmla="*/ 0 h 156901"/>
                  <a:gd name="connsiteX6" fmla="*/ 116028 w 152286"/>
                  <a:gd name="connsiteY6" fmla="*/ 10821 h 156901"/>
                  <a:gd name="connsiteX7" fmla="*/ 143222 w 152286"/>
                  <a:gd name="connsiteY7" fmla="*/ 37873 h 156901"/>
                  <a:gd name="connsiteX8" fmla="*/ 152286 w 152286"/>
                  <a:gd name="connsiteY8" fmla="*/ 79352 h 156901"/>
                  <a:gd name="connsiteX9" fmla="*/ 143222 w 152286"/>
                  <a:gd name="connsiteY9" fmla="*/ 119029 h 156901"/>
                  <a:gd name="connsiteX10" fmla="*/ 116028 w 152286"/>
                  <a:gd name="connsiteY10" fmla="*/ 146081 h 156901"/>
                  <a:gd name="connsiteX11" fmla="*/ 76143 w 152286"/>
                  <a:gd name="connsiteY11" fmla="*/ 156901 h 156901"/>
                  <a:gd name="connsiteX12" fmla="*/ 38072 w 152286"/>
                  <a:gd name="connsiteY12" fmla="*/ 146081 h 156901"/>
                  <a:gd name="connsiteX13" fmla="*/ 108776 w 152286"/>
                  <a:gd name="connsiteY13" fmla="*/ 135260 h 156901"/>
                  <a:gd name="connsiteX14" fmla="*/ 130531 w 152286"/>
                  <a:gd name="connsiteY14" fmla="*/ 111815 h 156901"/>
                  <a:gd name="connsiteX15" fmla="*/ 137783 w 152286"/>
                  <a:gd name="connsiteY15" fmla="*/ 77549 h 156901"/>
                  <a:gd name="connsiteX16" fmla="*/ 130531 w 152286"/>
                  <a:gd name="connsiteY16" fmla="*/ 43283 h 156901"/>
                  <a:gd name="connsiteX17" fmla="*/ 108776 w 152286"/>
                  <a:gd name="connsiteY17" fmla="*/ 19838 h 156901"/>
                  <a:gd name="connsiteX18" fmla="*/ 77956 w 152286"/>
                  <a:gd name="connsiteY18" fmla="*/ 12624 h 156901"/>
                  <a:gd name="connsiteX19" fmla="*/ 47136 w 152286"/>
                  <a:gd name="connsiteY19" fmla="*/ 19838 h 156901"/>
                  <a:gd name="connsiteX20" fmla="*/ 25381 w 152286"/>
                  <a:gd name="connsiteY20" fmla="*/ 43283 h 156901"/>
                  <a:gd name="connsiteX21" fmla="*/ 18129 w 152286"/>
                  <a:gd name="connsiteY21" fmla="*/ 77549 h 156901"/>
                  <a:gd name="connsiteX22" fmla="*/ 25381 w 152286"/>
                  <a:gd name="connsiteY22" fmla="*/ 111815 h 156901"/>
                  <a:gd name="connsiteX23" fmla="*/ 47136 w 152286"/>
                  <a:gd name="connsiteY23" fmla="*/ 135260 h 156901"/>
                  <a:gd name="connsiteX24" fmla="*/ 77956 w 152286"/>
                  <a:gd name="connsiteY24" fmla="*/ 142474 h 156901"/>
                  <a:gd name="connsiteX25" fmla="*/ 108776 w 152286"/>
                  <a:gd name="connsiteY25" fmla="*/ 135260 h 15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86" h="156901">
                    <a:moveTo>
                      <a:pt x="38072" y="146081"/>
                    </a:moveTo>
                    <a:cubicBezTo>
                      <a:pt x="27194" y="138867"/>
                      <a:pt x="18129" y="129849"/>
                      <a:pt x="10878" y="119029"/>
                    </a:cubicBezTo>
                    <a:cubicBezTo>
                      <a:pt x="3626" y="106404"/>
                      <a:pt x="0" y="93780"/>
                      <a:pt x="0" y="79352"/>
                    </a:cubicBezTo>
                    <a:cubicBezTo>
                      <a:pt x="0" y="64925"/>
                      <a:pt x="3626" y="50497"/>
                      <a:pt x="10878" y="37873"/>
                    </a:cubicBezTo>
                    <a:cubicBezTo>
                      <a:pt x="18129" y="25249"/>
                      <a:pt x="27194" y="16231"/>
                      <a:pt x="38072" y="10821"/>
                    </a:cubicBezTo>
                    <a:cubicBezTo>
                      <a:pt x="48949" y="3607"/>
                      <a:pt x="63453" y="0"/>
                      <a:pt x="76143" y="0"/>
                    </a:cubicBezTo>
                    <a:cubicBezTo>
                      <a:pt x="90646" y="0"/>
                      <a:pt x="103337" y="3607"/>
                      <a:pt x="116028" y="10821"/>
                    </a:cubicBezTo>
                    <a:cubicBezTo>
                      <a:pt x="126905" y="18035"/>
                      <a:pt x="135970" y="27052"/>
                      <a:pt x="143222" y="37873"/>
                    </a:cubicBezTo>
                    <a:cubicBezTo>
                      <a:pt x="150473" y="50497"/>
                      <a:pt x="152286" y="63121"/>
                      <a:pt x="152286" y="79352"/>
                    </a:cubicBezTo>
                    <a:cubicBezTo>
                      <a:pt x="152286" y="93780"/>
                      <a:pt x="148660" y="108208"/>
                      <a:pt x="143222" y="119029"/>
                    </a:cubicBezTo>
                    <a:cubicBezTo>
                      <a:pt x="135970" y="131653"/>
                      <a:pt x="126905" y="140670"/>
                      <a:pt x="116028" y="146081"/>
                    </a:cubicBezTo>
                    <a:cubicBezTo>
                      <a:pt x="105150" y="153295"/>
                      <a:pt x="90646" y="156901"/>
                      <a:pt x="76143" y="156901"/>
                    </a:cubicBezTo>
                    <a:cubicBezTo>
                      <a:pt x="63453" y="156901"/>
                      <a:pt x="50762" y="153295"/>
                      <a:pt x="38072" y="146081"/>
                    </a:cubicBezTo>
                    <a:moveTo>
                      <a:pt x="108776" y="135260"/>
                    </a:moveTo>
                    <a:cubicBezTo>
                      <a:pt x="117840" y="129849"/>
                      <a:pt x="125092" y="122636"/>
                      <a:pt x="130531" y="111815"/>
                    </a:cubicBezTo>
                    <a:cubicBezTo>
                      <a:pt x="135970" y="102797"/>
                      <a:pt x="137783" y="90173"/>
                      <a:pt x="137783" y="77549"/>
                    </a:cubicBezTo>
                    <a:cubicBezTo>
                      <a:pt x="137783" y="64925"/>
                      <a:pt x="135970" y="52300"/>
                      <a:pt x="130531" y="43283"/>
                    </a:cubicBezTo>
                    <a:cubicBezTo>
                      <a:pt x="125092" y="34266"/>
                      <a:pt x="117840" y="25249"/>
                      <a:pt x="108776" y="19838"/>
                    </a:cubicBezTo>
                    <a:cubicBezTo>
                      <a:pt x="99711" y="14428"/>
                      <a:pt x="88834" y="12624"/>
                      <a:pt x="77956" y="12624"/>
                    </a:cubicBezTo>
                    <a:cubicBezTo>
                      <a:pt x="67078" y="12624"/>
                      <a:pt x="56201" y="14428"/>
                      <a:pt x="47136" y="19838"/>
                    </a:cubicBezTo>
                    <a:cubicBezTo>
                      <a:pt x="38072" y="25249"/>
                      <a:pt x="30820" y="32462"/>
                      <a:pt x="25381" y="43283"/>
                    </a:cubicBezTo>
                    <a:cubicBezTo>
                      <a:pt x="19942" y="52300"/>
                      <a:pt x="18129" y="64925"/>
                      <a:pt x="18129" y="77549"/>
                    </a:cubicBezTo>
                    <a:cubicBezTo>
                      <a:pt x="18129" y="90173"/>
                      <a:pt x="19942" y="102797"/>
                      <a:pt x="25381" y="111815"/>
                    </a:cubicBezTo>
                    <a:cubicBezTo>
                      <a:pt x="30820" y="120832"/>
                      <a:pt x="38072" y="129849"/>
                      <a:pt x="47136" y="135260"/>
                    </a:cubicBezTo>
                    <a:cubicBezTo>
                      <a:pt x="56201" y="140670"/>
                      <a:pt x="67078" y="142474"/>
                      <a:pt x="77956" y="142474"/>
                    </a:cubicBezTo>
                    <a:cubicBezTo>
                      <a:pt x="88834" y="142474"/>
                      <a:pt x="99711" y="140670"/>
                      <a:pt x="108776" y="135260"/>
                    </a:cubicBezTo>
                  </a:path>
                </a:pathLst>
              </a:custGeom>
              <a:solidFill>
                <a:srgbClr val="224F70"/>
              </a:solidFill>
              <a:ln w="18105" cap="flat">
                <a:noFill/>
                <a:prstDash val="solid"/>
                <a:miter/>
              </a:ln>
            </p:spPr>
            <p:txBody>
              <a:bodyPr rtlCol="0" anchor="ctr"/>
              <a:lstStyle/>
              <a:p>
                <a:endParaRPr lang="en-US"/>
              </a:p>
            </p:txBody>
          </p:sp>
          <p:sp>
            <p:nvSpPr>
              <p:cNvPr id="36" name="Forma libre 35">
                <a:extLst>
                  <a:ext uri="{FF2B5EF4-FFF2-40B4-BE49-F238E27FC236}">
                    <a16:creationId xmlns:a16="http://schemas.microsoft.com/office/drawing/2014/main" id="{2B374EA9-03EF-EF48-AE95-44A3E097B478}"/>
                  </a:ext>
                </a:extLst>
              </p:cNvPr>
              <p:cNvSpPr/>
              <p:nvPr/>
            </p:nvSpPr>
            <p:spPr>
              <a:xfrm>
                <a:off x="3083201" y="3388885"/>
                <a:ext cx="130531" cy="151490"/>
              </a:xfrm>
              <a:custGeom>
                <a:avLst/>
                <a:gdLst>
                  <a:gd name="connsiteX0" fmla="*/ 99711 w 130531"/>
                  <a:gd name="connsiteY0" fmla="*/ 115422 h 151490"/>
                  <a:gd name="connsiteX1" fmla="*/ 29007 w 130531"/>
                  <a:gd name="connsiteY1" fmla="*/ 115422 h 151490"/>
                  <a:gd name="connsiteX2" fmla="*/ 16317 w 130531"/>
                  <a:gd name="connsiteY2" fmla="*/ 151491 h 151490"/>
                  <a:gd name="connsiteX3" fmla="*/ 0 w 130531"/>
                  <a:gd name="connsiteY3" fmla="*/ 151491 h 151490"/>
                  <a:gd name="connsiteX4" fmla="*/ 56201 w 130531"/>
                  <a:gd name="connsiteY4" fmla="*/ 0 h 151490"/>
                  <a:gd name="connsiteX5" fmla="*/ 74330 w 130531"/>
                  <a:gd name="connsiteY5" fmla="*/ 0 h 151490"/>
                  <a:gd name="connsiteX6" fmla="*/ 130531 w 130531"/>
                  <a:gd name="connsiteY6" fmla="*/ 151491 h 151490"/>
                  <a:gd name="connsiteX7" fmla="*/ 114215 w 130531"/>
                  <a:gd name="connsiteY7" fmla="*/ 151491 h 151490"/>
                  <a:gd name="connsiteX8" fmla="*/ 99711 w 130531"/>
                  <a:gd name="connsiteY8" fmla="*/ 115422 h 151490"/>
                  <a:gd name="connsiteX9" fmla="*/ 96085 w 130531"/>
                  <a:gd name="connsiteY9" fmla="*/ 102797 h 151490"/>
                  <a:gd name="connsiteX10" fmla="*/ 65266 w 130531"/>
                  <a:gd name="connsiteY10" fmla="*/ 19838 h 151490"/>
                  <a:gd name="connsiteX11" fmla="*/ 34446 w 130531"/>
                  <a:gd name="connsiteY11" fmla="*/ 102797 h 151490"/>
                  <a:gd name="connsiteX12" fmla="*/ 96085 w 130531"/>
                  <a:gd name="connsiteY12" fmla="*/ 102797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531" h="151490">
                    <a:moveTo>
                      <a:pt x="99711" y="115422"/>
                    </a:moveTo>
                    <a:lnTo>
                      <a:pt x="29007" y="115422"/>
                    </a:lnTo>
                    <a:lnTo>
                      <a:pt x="16317" y="151491"/>
                    </a:lnTo>
                    <a:lnTo>
                      <a:pt x="0" y="151491"/>
                    </a:lnTo>
                    <a:lnTo>
                      <a:pt x="56201" y="0"/>
                    </a:lnTo>
                    <a:lnTo>
                      <a:pt x="74330" y="0"/>
                    </a:lnTo>
                    <a:lnTo>
                      <a:pt x="130531" y="151491"/>
                    </a:lnTo>
                    <a:lnTo>
                      <a:pt x="114215" y="151491"/>
                    </a:lnTo>
                    <a:lnTo>
                      <a:pt x="99711" y="115422"/>
                    </a:lnTo>
                    <a:close/>
                    <a:moveTo>
                      <a:pt x="96085" y="102797"/>
                    </a:moveTo>
                    <a:lnTo>
                      <a:pt x="65266" y="19838"/>
                    </a:lnTo>
                    <a:lnTo>
                      <a:pt x="34446" y="102797"/>
                    </a:lnTo>
                    <a:lnTo>
                      <a:pt x="96085" y="102797"/>
                    </a:lnTo>
                    <a:close/>
                  </a:path>
                </a:pathLst>
              </a:custGeom>
              <a:solidFill>
                <a:srgbClr val="224F70"/>
              </a:solidFill>
              <a:ln w="18105" cap="flat">
                <a:noFill/>
                <a:prstDash val="solid"/>
                <a:miter/>
              </a:ln>
            </p:spPr>
            <p:txBody>
              <a:bodyPr rtlCol="0" anchor="ctr"/>
              <a:lstStyle/>
              <a:p>
                <a:endParaRPr lang="en-US"/>
              </a:p>
            </p:txBody>
          </p:sp>
          <p:sp>
            <p:nvSpPr>
              <p:cNvPr id="37" name="Forma libre 36">
                <a:extLst>
                  <a:ext uri="{FF2B5EF4-FFF2-40B4-BE49-F238E27FC236}">
                    <a16:creationId xmlns:a16="http://schemas.microsoft.com/office/drawing/2014/main" id="{55D8FFBE-91AB-334C-B4F8-73C204D4E335}"/>
                  </a:ext>
                </a:extLst>
              </p:cNvPr>
              <p:cNvSpPr/>
              <p:nvPr/>
            </p:nvSpPr>
            <p:spPr>
              <a:xfrm>
                <a:off x="3342450" y="3390689"/>
                <a:ext cx="150473" cy="151490"/>
              </a:xfrm>
              <a:custGeom>
                <a:avLst/>
                <a:gdLst>
                  <a:gd name="connsiteX0" fmla="*/ 150473 w 150473"/>
                  <a:gd name="connsiteY0" fmla="*/ 0 h 151490"/>
                  <a:gd name="connsiteX1" fmla="*/ 150473 w 150473"/>
                  <a:gd name="connsiteY1" fmla="*/ 151491 h 151490"/>
                  <a:gd name="connsiteX2" fmla="*/ 135970 w 150473"/>
                  <a:gd name="connsiteY2" fmla="*/ 151491 h 151490"/>
                  <a:gd name="connsiteX3" fmla="*/ 135970 w 150473"/>
                  <a:gd name="connsiteY3" fmla="*/ 30659 h 151490"/>
                  <a:gd name="connsiteX4" fmla="*/ 81582 w 150473"/>
                  <a:gd name="connsiteY4" fmla="*/ 151491 h 151490"/>
                  <a:gd name="connsiteX5" fmla="*/ 68891 w 150473"/>
                  <a:gd name="connsiteY5" fmla="*/ 151491 h 151490"/>
                  <a:gd name="connsiteX6" fmla="*/ 14503 w 150473"/>
                  <a:gd name="connsiteY6" fmla="*/ 30659 h 151490"/>
                  <a:gd name="connsiteX7" fmla="*/ 14503 w 150473"/>
                  <a:gd name="connsiteY7" fmla="*/ 151491 h 151490"/>
                  <a:gd name="connsiteX8" fmla="*/ 0 w 150473"/>
                  <a:gd name="connsiteY8" fmla="*/ 151491 h 151490"/>
                  <a:gd name="connsiteX9" fmla="*/ 0 w 150473"/>
                  <a:gd name="connsiteY9" fmla="*/ 0 h 151490"/>
                  <a:gd name="connsiteX10" fmla="*/ 16317 w 150473"/>
                  <a:gd name="connsiteY10" fmla="*/ 0 h 151490"/>
                  <a:gd name="connsiteX11" fmla="*/ 76143 w 150473"/>
                  <a:gd name="connsiteY11" fmla="*/ 131653 h 151490"/>
                  <a:gd name="connsiteX12" fmla="*/ 134157 w 150473"/>
                  <a:gd name="connsiteY12" fmla="*/ 0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473" h="151490">
                    <a:moveTo>
                      <a:pt x="150473" y="0"/>
                    </a:moveTo>
                    <a:lnTo>
                      <a:pt x="150473" y="151491"/>
                    </a:lnTo>
                    <a:lnTo>
                      <a:pt x="135970" y="151491"/>
                    </a:lnTo>
                    <a:lnTo>
                      <a:pt x="135970" y="30659"/>
                    </a:lnTo>
                    <a:lnTo>
                      <a:pt x="81582" y="151491"/>
                    </a:lnTo>
                    <a:lnTo>
                      <a:pt x="68891" y="151491"/>
                    </a:lnTo>
                    <a:lnTo>
                      <a:pt x="14503" y="30659"/>
                    </a:lnTo>
                    <a:lnTo>
                      <a:pt x="14503" y="151491"/>
                    </a:lnTo>
                    <a:lnTo>
                      <a:pt x="0" y="151491"/>
                    </a:lnTo>
                    <a:lnTo>
                      <a:pt x="0" y="0"/>
                    </a:lnTo>
                    <a:lnTo>
                      <a:pt x="16317" y="0"/>
                    </a:lnTo>
                    <a:lnTo>
                      <a:pt x="76143" y="131653"/>
                    </a:lnTo>
                    <a:lnTo>
                      <a:pt x="134157" y="0"/>
                    </a:lnTo>
                    <a:close/>
                  </a:path>
                </a:pathLst>
              </a:custGeom>
              <a:solidFill>
                <a:srgbClr val="224F70"/>
              </a:solidFill>
              <a:ln w="18105" cap="flat">
                <a:noFill/>
                <a:prstDash val="solid"/>
                <a:miter/>
              </a:ln>
            </p:spPr>
            <p:txBody>
              <a:bodyPr rtlCol="0" anchor="ctr"/>
              <a:lstStyle/>
              <a:p>
                <a:endParaRPr lang="en-US"/>
              </a:p>
            </p:txBody>
          </p:sp>
          <p:sp>
            <p:nvSpPr>
              <p:cNvPr id="38" name="Forma libre 37">
                <a:extLst>
                  <a:ext uri="{FF2B5EF4-FFF2-40B4-BE49-F238E27FC236}">
                    <a16:creationId xmlns:a16="http://schemas.microsoft.com/office/drawing/2014/main" id="{9E8B0340-15EA-C448-8491-7FEB7B9B797F}"/>
                  </a:ext>
                </a:extLst>
              </p:cNvPr>
              <p:cNvSpPr/>
              <p:nvPr/>
            </p:nvSpPr>
            <p:spPr>
              <a:xfrm>
                <a:off x="3632519" y="3340192"/>
                <a:ext cx="81581" cy="200184"/>
              </a:xfrm>
              <a:custGeom>
                <a:avLst/>
                <a:gdLst>
                  <a:gd name="connsiteX0" fmla="*/ 16317 w 81581"/>
                  <a:gd name="connsiteY0" fmla="*/ 59514 h 200184"/>
                  <a:gd name="connsiteX1" fmla="*/ 16317 w 81581"/>
                  <a:gd name="connsiteY1" fmla="*/ 117225 h 200184"/>
                  <a:gd name="connsiteX2" fmla="*/ 74330 w 81581"/>
                  <a:gd name="connsiteY2" fmla="*/ 117225 h 200184"/>
                  <a:gd name="connsiteX3" fmla="*/ 74330 w 81581"/>
                  <a:gd name="connsiteY3" fmla="*/ 129849 h 200184"/>
                  <a:gd name="connsiteX4" fmla="*/ 16317 w 81581"/>
                  <a:gd name="connsiteY4" fmla="*/ 129849 h 200184"/>
                  <a:gd name="connsiteX5" fmla="*/ 16317 w 81581"/>
                  <a:gd name="connsiteY5" fmla="*/ 187560 h 200184"/>
                  <a:gd name="connsiteX6" fmla="*/ 81582 w 81581"/>
                  <a:gd name="connsiteY6" fmla="*/ 187560 h 200184"/>
                  <a:gd name="connsiteX7" fmla="*/ 81582 w 81581"/>
                  <a:gd name="connsiteY7" fmla="*/ 200185 h 200184"/>
                  <a:gd name="connsiteX8" fmla="*/ 0 w 81581"/>
                  <a:gd name="connsiteY8" fmla="*/ 200185 h 200184"/>
                  <a:gd name="connsiteX9" fmla="*/ 0 w 81581"/>
                  <a:gd name="connsiteY9" fmla="*/ 46890 h 200184"/>
                  <a:gd name="connsiteX10" fmla="*/ 81582 w 81581"/>
                  <a:gd name="connsiteY10" fmla="*/ 46890 h 200184"/>
                  <a:gd name="connsiteX11" fmla="*/ 81582 w 81581"/>
                  <a:gd name="connsiteY11" fmla="*/ 59514 h 200184"/>
                  <a:gd name="connsiteX12" fmla="*/ 16317 w 81581"/>
                  <a:gd name="connsiteY12" fmla="*/ 59514 h 200184"/>
                  <a:gd name="connsiteX13" fmla="*/ 58014 w 81581"/>
                  <a:gd name="connsiteY13" fmla="*/ 14428 h 200184"/>
                  <a:gd name="connsiteX14" fmla="*/ 12690 w 81581"/>
                  <a:gd name="connsiteY14" fmla="*/ 41480 h 200184"/>
                  <a:gd name="connsiteX15" fmla="*/ 12690 w 81581"/>
                  <a:gd name="connsiteY15" fmla="*/ 28855 h 200184"/>
                  <a:gd name="connsiteX16" fmla="*/ 58014 w 81581"/>
                  <a:gd name="connsiteY16" fmla="*/ 0 h 200184"/>
                  <a:gd name="connsiteX17" fmla="*/ 58014 w 81581"/>
                  <a:gd name="connsiteY17" fmla="*/ 14428 h 20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81" h="200184">
                    <a:moveTo>
                      <a:pt x="16317" y="59514"/>
                    </a:moveTo>
                    <a:lnTo>
                      <a:pt x="16317" y="117225"/>
                    </a:lnTo>
                    <a:lnTo>
                      <a:pt x="74330" y="117225"/>
                    </a:lnTo>
                    <a:lnTo>
                      <a:pt x="74330" y="129849"/>
                    </a:lnTo>
                    <a:lnTo>
                      <a:pt x="16317" y="129849"/>
                    </a:lnTo>
                    <a:lnTo>
                      <a:pt x="16317" y="187560"/>
                    </a:lnTo>
                    <a:lnTo>
                      <a:pt x="81582" y="187560"/>
                    </a:lnTo>
                    <a:lnTo>
                      <a:pt x="81582" y="200185"/>
                    </a:lnTo>
                    <a:lnTo>
                      <a:pt x="0" y="200185"/>
                    </a:lnTo>
                    <a:lnTo>
                      <a:pt x="0" y="46890"/>
                    </a:lnTo>
                    <a:lnTo>
                      <a:pt x="81582" y="46890"/>
                    </a:lnTo>
                    <a:lnTo>
                      <a:pt x="81582" y="59514"/>
                    </a:lnTo>
                    <a:lnTo>
                      <a:pt x="16317" y="59514"/>
                    </a:lnTo>
                    <a:close/>
                    <a:moveTo>
                      <a:pt x="58014" y="14428"/>
                    </a:moveTo>
                    <a:lnTo>
                      <a:pt x="12690" y="41480"/>
                    </a:lnTo>
                    <a:lnTo>
                      <a:pt x="12690" y="28855"/>
                    </a:lnTo>
                    <a:lnTo>
                      <a:pt x="58014" y="0"/>
                    </a:lnTo>
                    <a:lnTo>
                      <a:pt x="58014" y="14428"/>
                    </a:lnTo>
                    <a:close/>
                  </a:path>
                </a:pathLst>
              </a:custGeom>
              <a:solidFill>
                <a:srgbClr val="224F70"/>
              </a:solidFill>
              <a:ln w="18105" cap="flat">
                <a:noFill/>
                <a:prstDash val="solid"/>
                <a:miter/>
              </a:ln>
            </p:spPr>
            <p:txBody>
              <a:bodyPr rtlCol="0" anchor="ctr"/>
              <a:lstStyle/>
              <a:p>
                <a:endParaRPr lang="en-US"/>
              </a:p>
            </p:txBody>
          </p:sp>
          <p:sp>
            <p:nvSpPr>
              <p:cNvPr id="39" name="Forma libre 38">
                <a:extLst>
                  <a:ext uri="{FF2B5EF4-FFF2-40B4-BE49-F238E27FC236}">
                    <a16:creationId xmlns:a16="http://schemas.microsoft.com/office/drawing/2014/main" id="{D07F3A6C-DC44-3B42-A11C-B90AC5813F33}"/>
                  </a:ext>
                </a:extLst>
              </p:cNvPr>
              <p:cNvSpPr/>
              <p:nvPr/>
            </p:nvSpPr>
            <p:spPr>
              <a:xfrm>
                <a:off x="3846444" y="3388885"/>
                <a:ext cx="101524" cy="153294"/>
              </a:xfrm>
              <a:custGeom>
                <a:avLst/>
                <a:gdLst>
                  <a:gd name="connsiteX0" fmla="*/ 83395 w 101524"/>
                  <a:gd name="connsiteY0" fmla="*/ 153294 h 153294"/>
                  <a:gd name="connsiteX1" fmla="*/ 45323 w 101524"/>
                  <a:gd name="connsiteY1" fmla="*/ 88370 h 153294"/>
                  <a:gd name="connsiteX2" fmla="*/ 16316 w 101524"/>
                  <a:gd name="connsiteY2" fmla="*/ 88370 h 153294"/>
                  <a:gd name="connsiteX3" fmla="*/ 16316 w 101524"/>
                  <a:gd name="connsiteY3" fmla="*/ 153294 h 153294"/>
                  <a:gd name="connsiteX4" fmla="*/ 0 w 101524"/>
                  <a:gd name="connsiteY4" fmla="*/ 153294 h 153294"/>
                  <a:gd name="connsiteX5" fmla="*/ 0 w 101524"/>
                  <a:gd name="connsiteY5" fmla="*/ 0 h 153294"/>
                  <a:gd name="connsiteX6" fmla="*/ 47136 w 101524"/>
                  <a:gd name="connsiteY6" fmla="*/ 0 h 153294"/>
                  <a:gd name="connsiteX7" fmla="*/ 87021 w 101524"/>
                  <a:gd name="connsiteY7" fmla="*/ 12624 h 153294"/>
                  <a:gd name="connsiteX8" fmla="*/ 99711 w 101524"/>
                  <a:gd name="connsiteY8" fmla="*/ 45087 h 153294"/>
                  <a:gd name="connsiteX9" fmla="*/ 90646 w 101524"/>
                  <a:gd name="connsiteY9" fmla="*/ 73942 h 153294"/>
                  <a:gd name="connsiteX10" fmla="*/ 61639 w 101524"/>
                  <a:gd name="connsiteY10" fmla="*/ 88370 h 153294"/>
                  <a:gd name="connsiteX11" fmla="*/ 101524 w 101524"/>
                  <a:gd name="connsiteY11" fmla="*/ 153294 h 153294"/>
                  <a:gd name="connsiteX12" fmla="*/ 83395 w 101524"/>
                  <a:gd name="connsiteY12" fmla="*/ 153294 h 153294"/>
                  <a:gd name="connsiteX13" fmla="*/ 16316 w 101524"/>
                  <a:gd name="connsiteY13" fmla="*/ 75745 h 153294"/>
                  <a:gd name="connsiteX14" fmla="*/ 47136 w 101524"/>
                  <a:gd name="connsiteY14" fmla="*/ 75745 h 153294"/>
                  <a:gd name="connsiteX15" fmla="*/ 74330 w 101524"/>
                  <a:gd name="connsiteY15" fmla="*/ 66728 h 153294"/>
                  <a:gd name="connsiteX16" fmla="*/ 83395 w 101524"/>
                  <a:gd name="connsiteY16" fmla="*/ 43283 h 153294"/>
                  <a:gd name="connsiteX17" fmla="*/ 74330 w 101524"/>
                  <a:gd name="connsiteY17" fmla="*/ 19838 h 153294"/>
                  <a:gd name="connsiteX18" fmla="*/ 47136 w 101524"/>
                  <a:gd name="connsiteY18" fmla="*/ 10821 h 153294"/>
                  <a:gd name="connsiteX19" fmla="*/ 16316 w 101524"/>
                  <a:gd name="connsiteY19" fmla="*/ 10821 h 153294"/>
                  <a:gd name="connsiteX20" fmla="*/ 16316 w 101524"/>
                  <a:gd name="connsiteY20" fmla="*/ 75745 h 15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1524" h="153294">
                    <a:moveTo>
                      <a:pt x="83395" y="153294"/>
                    </a:moveTo>
                    <a:lnTo>
                      <a:pt x="45323" y="88370"/>
                    </a:lnTo>
                    <a:lnTo>
                      <a:pt x="16316" y="88370"/>
                    </a:lnTo>
                    <a:lnTo>
                      <a:pt x="16316" y="153294"/>
                    </a:lnTo>
                    <a:lnTo>
                      <a:pt x="0" y="153294"/>
                    </a:lnTo>
                    <a:lnTo>
                      <a:pt x="0" y="0"/>
                    </a:lnTo>
                    <a:lnTo>
                      <a:pt x="47136" y="0"/>
                    </a:lnTo>
                    <a:cubicBezTo>
                      <a:pt x="65266" y="0"/>
                      <a:pt x="77956" y="3607"/>
                      <a:pt x="87021" y="12624"/>
                    </a:cubicBezTo>
                    <a:cubicBezTo>
                      <a:pt x="96085" y="21642"/>
                      <a:pt x="99711" y="32462"/>
                      <a:pt x="99711" y="45087"/>
                    </a:cubicBezTo>
                    <a:cubicBezTo>
                      <a:pt x="99711" y="55907"/>
                      <a:pt x="96085" y="64925"/>
                      <a:pt x="90646" y="73942"/>
                    </a:cubicBezTo>
                    <a:cubicBezTo>
                      <a:pt x="83395" y="81156"/>
                      <a:pt x="74330" y="86566"/>
                      <a:pt x="61639" y="88370"/>
                    </a:cubicBezTo>
                    <a:lnTo>
                      <a:pt x="101524" y="153294"/>
                    </a:lnTo>
                    <a:lnTo>
                      <a:pt x="83395" y="153294"/>
                    </a:lnTo>
                    <a:close/>
                    <a:moveTo>
                      <a:pt x="16316" y="75745"/>
                    </a:moveTo>
                    <a:lnTo>
                      <a:pt x="47136" y="75745"/>
                    </a:lnTo>
                    <a:cubicBezTo>
                      <a:pt x="59827" y="75745"/>
                      <a:pt x="68891" y="72139"/>
                      <a:pt x="74330" y="66728"/>
                    </a:cubicBezTo>
                    <a:cubicBezTo>
                      <a:pt x="79769" y="61318"/>
                      <a:pt x="83395" y="52300"/>
                      <a:pt x="83395" y="43283"/>
                    </a:cubicBezTo>
                    <a:cubicBezTo>
                      <a:pt x="83395" y="32462"/>
                      <a:pt x="79769" y="25248"/>
                      <a:pt x="74330" y="19838"/>
                    </a:cubicBezTo>
                    <a:cubicBezTo>
                      <a:pt x="68891" y="14428"/>
                      <a:pt x="59827" y="10821"/>
                      <a:pt x="47136" y="10821"/>
                    </a:cubicBezTo>
                    <a:lnTo>
                      <a:pt x="16316" y="10821"/>
                    </a:lnTo>
                    <a:lnTo>
                      <a:pt x="16316" y="75745"/>
                    </a:lnTo>
                    <a:close/>
                  </a:path>
                </a:pathLst>
              </a:custGeom>
              <a:solidFill>
                <a:srgbClr val="224F70"/>
              </a:solidFill>
              <a:ln w="18105" cap="flat">
                <a:noFill/>
                <a:prstDash val="solid"/>
                <a:miter/>
              </a:ln>
            </p:spPr>
            <p:txBody>
              <a:bodyPr rtlCol="0" anchor="ctr"/>
              <a:lstStyle/>
              <a:p>
                <a:endParaRPr lang="en-US"/>
              </a:p>
            </p:txBody>
          </p:sp>
          <p:sp>
            <p:nvSpPr>
              <p:cNvPr id="40" name="Forma libre 39">
                <a:extLst>
                  <a:ext uri="{FF2B5EF4-FFF2-40B4-BE49-F238E27FC236}">
                    <a16:creationId xmlns:a16="http://schemas.microsoft.com/office/drawing/2014/main" id="{2920231D-CE28-A540-A9C3-771D3D92CFD4}"/>
                  </a:ext>
                </a:extLst>
              </p:cNvPr>
              <p:cNvSpPr/>
              <p:nvPr/>
            </p:nvSpPr>
            <p:spPr>
              <a:xfrm>
                <a:off x="4082125" y="3387082"/>
                <a:ext cx="16316" cy="153294"/>
              </a:xfrm>
              <a:custGeom>
                <a:avLst/>
                <a:gdLst>
                  <a:gd name="connsiteX0" fmla="*/ 0 w 16316"/>
                  <a:gd name="connsiteY0" fmla="*/ 0 h 153294"/>
                  <a:gd name="connsiteX1" fmla="*/ 16316 w 16316"/>
                  <a:gd name="connsiteY1" fmla="*/ 0 h 153294"/>
                  <a:gd name="connsiteX2" fmla="*/ 16316 w 16316"/>
                  <a:gd name="connsiteY2" fmla="*/ 153294 h 153294"/>
                  <a:gd name="connsiteX3" fmla="*/ 0 w 16316"/>
                  <a:gd name="connsiteY3" fmla="*/ 153294 h 153294"/>
                </a:gdLst>
                <a:ahLst/>
                <a:cxnLst>
                  <a:cxn ang="0">
                    <a:pos x="connsiteX0" y="connsiteY0"/>
                  </a:cxn>
                  <a:cxn ang="0">
                    <a:pos x="connsiteX1" y="connsiteY1"/>
                  </a:cxn>
                  <a:cxn ang="0">
                    <a:pos x="connsiteX2" y="connsiteY2"/>
                  </a:cxn>
                  <a:cxn ang="0">
                    <a:pos x="connsiteX3" y="connsiteY3"/>
                  </a:cxn>
                </a:cxnLst>
                <a:rect l="l" t="t" r="r" b="b"/>
                <a:pathLst>
                  <a:path w="16316" h="153294">
                    <a:moveTo>
                      <a:pt x="0" y="0"/>
                    </a:moveTo>
                    <a:lnTo>
                      <a:pt x="16316" y="0"/>
                    </a:lnTo>
                    <a:lnTo>
                      <a:pt x="16316" y="153294"/>
                    </a:lnTo>
                    <a:lnTo>
                      <a:pt x="0" y="153294"/>
                    </a:lnTo>
                    <a:close/>
                  </a:path>
                </a:pathLst>
              </a:custGeom>
              <a:solidFill>
                <a:srgbClr val="224F70"/>
              </a:solidFill>
              <a:ln w="18105" cap="flat">
                <a:noFill/>
                <a:prstDash val="solid"/>
                <a:miter/>
              </a:ln>
            </p:spPr>
            <p:txBody>
              <a:bodyPr rtlCol="0" anchor="ctr"/>
              <a:lstStyle/>
              <a:p>
                <a:endParaRPr lang="en-US"/>
              </a:p>
            </p:txBody>
          </p:sp>
          <p:sp>
            <p:nvSpPr>
              <p:cNvPr id="41" name="Forma libre 40">
                <a:extLst>
                  <a:ext uri="{FF2B5EF4-FFF2-40B4-BE49-F238E27FC236}">
                    <a16:creationId xmlns:a16="http://schemas.microsoft.com/office/drawing/2014/main" id="{8691B275-7060-4642-99EE-78FECE14145D}"/>
                  </a:ext>
                </a:extLst>
              </p:cNvPr>
              <p:cNvSpPr/>
              <p:nvPr/>
            </p:nvSpPr>
            <p:spPr>
              <a:xfrm>
                <a:off x="4230323" y="3387082"/>
                <a:ext cx="145496" cy="156901"/>
              </a:xfrm>
              <a:custGeom>
                <a:avLst/>
                <a:gdLst>
                  <a:gd name="connsiteX0" fmla="*/ 9527 w 145496"/>
                  <a:gd name="connsiteY0" fmla="*/ 37873 h 156901"/>
                  <a:gd name="connsiteX1" fmla="*/ 36721 w 145496"/>
                  <a:gd name="connsiteY1" fmla="*/ 10821 h 156901"/>
                  <a:gd name="connsiteX2" fmla="*/ 74792 w 145496"/>
                  <a:gd name="connsiteY2" fmla="*/ 0 h 156901"/>
                  <a:gd name="connsiteX3" fmla="*/ 118302 w 145496"/>
                  <a:gd name="connsiteY3" fmla="*/ 12624 h 156901"/>
                  <a:gd name="connsiteX4" fmla="*/ 145496 w 145496"/>
                  <a:gd name="connsiteY4" fmla="*/ 46890 h 156901"/>
                  <a:gd name="connsiteX5" fmla="*/ 127367 w 145496"/>
                  <a:gd name="connsiteY5" fmla="*/ 46890 h 156901"/>
                  <a:gd name="connsiteX6" fmla="*/ 107425 w 145496"/>
                  <a:gd name="connsiteY6" fmla="*/ 21642 h 156901"/>
                  <a:gd name="connsiteX7" fmla="*/ 74792 w 145496"/>
                  <a:gd name="connsiteY7" fmla="*/ 12624 h 156901"/>
                  <a:gd name="connsiteX8" fmla="*/ 43972 w 145496"/>
                  <a:gd name="connsiteY8" fmla="*/ 19838 h 156901"/>
                  <a:gd name="connsiteX9" fmla="*/ 22217 w 145496"/>
                  <a:gd name="connsiteY9" fmla="*/ 43283 h 156901"/>
                  <a:gd name="connsiteX10" fmla="*/ 14965 w 145496"/>
                  <a:gd name="connsiteY10" fmla="*/ 77549 h 156901"/>
                  <a:gd name="connsiteX11" fmla="*/ 22217 w 145496"/>
                  <a:gd name="connsiteY11" fmla="*/ 111815 h 156901"/>
                  <a:gd name="connsiteX12" fmla="*/ 43972 w 145496"/>
                  <a:gd name="connsiteY12" fmla="*/ 135260 h 156901"/>
                  <a:gd name="connsiteX13" fmla="*/ 74792 w 145496"/>
                  <a:gd name="connsiteY13" fmla="*/ 142474 h 156901"/>
                  <a:gd name="connsiteX14" fmla="*/ 107425 w 145496"/>
                  <a:gd name="connsiteY14" fmla="*/ 133456 h 156901"/>
                  <a:gd name="connsiteX15" fmla="*/ 127367 w 145496"/>
                  <a:gd name="connsiteY15" fmla="*/ 110011 h 156901"/>
                  <a:gd name="connsiteX16" fmla="*/ 145496 w 145496"/>
                  <a:gd name="connsiteY16" fmla="*/ 110011 h 156901"/>
                  <a:gd name="connsiteX17" fmla="*/ 118302 w 145496"/>
                  <a:gd name="connsiteY17" fmla="*/ 144277 h 156901"/>
                  <a:gd name="connsiteX18" fmla="*/ 74792 w 145496"/>
                  <a:gd name="connsiteY18" fmla="*/ 156901 h 156901"/>
                  <a:gd name="connsiteX19" fmla="*/ 36721 w 145496"/>
                  <a:gd name="connsiteY19" fmla="*/ 146081 h 156901"/>
                  <a:gd name="connsiteX20" fmla="*/ 9527 w 145496"/>
                  <a:gd name="connsiteY20" fmla="*/ 119029 h 156901"/>
                  <a:gd name="connsiteX21" fmla="*/ 462 w 145496"/>
                  <a:gd name="connsiteY21" fmla="*/ 79352 h 156901"/>
                  <a:gd name="connsiteX22" fmla="*/ 9527 w 145496"/>
                  <a:gd name="connsiteY22" fmla="*/ 37873 h 15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496" h="156901">
                    <a:moveTo>
                      <a:pt x="9527" y="37873"/>
                    </a:moveTo>
                    <a:cubicBezTo>
                      <a:pt x="16778" y="25249"/>
                      <a:pt x="25843" y="16231"/>
                      <a:pt x="36721" y="10821"/>
                    </a:cubicBezTo>
                    <a:cubicBezTo>
                      <a:pt x="47598" y="3607"/>
                      <a:pt x="60289" y="0"/>
                      <a:pt x="74792" y="0"/>
                    </a:cubicBezTo>
                    <a:cubicBezTo>
                      <a:pt x="92921" y="0"/>
                      <a:pt x="107425" y="3607"/>
                      <a:pt x="118302" y="12624"/>
                    </a:cubicBezTo>
                    <a:cubicBezTo>
                      <a:pt x="130993" y="21642"/>
                      <a:pt x="140057" y="32462"/>
                      <a:pt x="145496" y="46890"/>
                    </a:cubicBezTo>
                    <a:lnTo>
                      <a:pt x="127367" y="46890"/>
                    </a:lnTo>
                    <a:cubicBezTo>
                      <a:pt x="123741" y="36069"/>
                      <a:pt x="116490" y="28855"/>
                      <a:pt x="107425" y="21642"/>
                    </a:cubicBezTo>
                    <a:cubicBezTo>
                      <a:pt x="98360" y="16231"/>
                      <a:pt x="87483" y="12624"/>
                      <a:pt x="74792" y="12624"/>
                    </a:cubicBezTo>
                    <a:cubicBezTo>
                      <a:pt x="63914" y="12624"/>
                      <a:pt x="53037" y="14428"/>
                      <a:pt x="43972" y="19838"/>
                    </a:cubicBezTo>
                    <a:cubicBezTo>
                      <a:pt x="34908" y="25249"/>
                      <a:pt x="27656" y="32462"/>
                      <a:pt x="22217" y="43283"/>
                    </a:cubicBezTo>
                    <a:cubicBezTo>
                      <a:pt x="16778" y="52300"/>
                      <a:pt x="14965" y="64925"/>
                      <a:pt x="14965" y="77549"/>
                    </a:cubicBezTo>
                    <a:cubicBezTo>
                      <a:pt x="14965" y="90173"/>
                      <a:pt x="16778" y="102797"/>
                      <a:pt x="22217" y="111815"/>
                    </a:cubicBezTo>
                    <a:cubicBezTo>
                      <a:pt x="27656" y="120832"/>
                      <a:pt x="34908" y="129849"/>
                      <a:pt x="43972" y="135260"/>
                    </a:cubicBezTo>
                    <a:cubicBezTo>
                      <a:pt x="53037" y="140670"/>
                      <a:pt x="63914" y="142474"/>
                      <a:pt x="74792" y="142474"/>
                    </a:cubicBezTo>
                    <a:cubicBezTo>
                      <a:pt x="87483" y="142474"/>
                      <a:pt x="98360" y="138867"/>
                      <a:pt x="107425" y="133456"/>
                    </a:cubicBezTo>
                    <a:cubicBezTo>
                      <a:pt x="116490" y="128046"/>
                      <a:pt x="123741" y="119029"/>
                      <a:pt x="127367" y="110011"/>
                    </a:cubicBezTo>
                    <a:lnTo>
                      <a:pt x="145496" y="110011"/>
                    </a:lnTo>
                    <a:cubicBezTo>
                      <a:pt x="140057" y="124439"/>
                      <a:pt x="130993" y="135260"/>
                      <a:pt x="118302" y="144277"/>
                    </a:cubicBezTo>
                    <a:cubicBezTo>
                      <a:pt x="105612" y="151491"/>
                      <a:pt x="91108" y="156901"/>
                      <a:pt x="74792" y="156901"/>
                    </a:cubicBezTo>
                    <a:cubicBezTo>
                      <a:pt x="60289" y="156901"/>
                      <a:pt x="47598" y="153295"/>
                      <a:pt x="36721" y="146081"/>
                    </a:cubicBezTo>
                    <a:cubicBezTo>
                      <a:pt x="25843" y="138867"/>
                      <a:pt x="16778" y="129849"/>
                      <a:pt x="9527" y="119029"/>
                    </a:cubicBezTo>
                    <a:cubicBezTo>
                      <a:pt x="2275" y="106404"/>
                      <a:pt x="462" y="93780"/>
                      <a:pt x="462" y="79352"/>
                    </a:cubicBezTo>
                    <a:cubicBezTo>
                      <a:pt x="-1351" y="63121"/>
                      <a:pt x="2275" y="48694"/>
                      <a:pt x="9527" y="37873"/>
                    </a:cubicBezTo>
                  </a:path>
                </a:pathLst>
              </a:custGeom>
              <a:solidFill>
                <a:srgbClr val="224F70"/>
              </a:solidFill>
              <a:ln w="18105" cap="flat">
                <a:noFill/>
                <a:prstDash val="solid"/>
                <a:miter/>
              </a:ln>
            </p:spPr>
            <p:txBody>
              <a:bodyPr rtlCol="0" anchor="ctr"/>
              <a:lstStyle/>
              <a:p>
                <a:endParaRPr lang="en-US"/>
              </a:p>
            </p:txBody>
          </p:sp>
          <p:sp>
            <p:nvSpPr>
              <p:cNvPr id="42" name="Forma libre 41">
                <a:extLst>
                  <a:ext uri="{FF2B5EF4-FFF2-40B4-BE49-F238E27FC236}">
                    <a16:creationId xmlns:a16="http://schemas.microsoft.com/office/drawing/2014/main" id="{4A4BE2A1-A364-7944-90CF-573D3EDCB525}"/>
                  </a:ext>
                </a:extLst>
              </p:cNvPr>
              <p:cNvSpPr/>
              <p:nvPr/>
            </p:nvSpPr>
            <p:spPr>
              <a:xfrm>
                <a:off x="4500912" y="3388885"/>
                <a:ext cx="130530" cy="151490"/>
              </a:xfrm>
              <a:custGeom>
                <a:avLst/>
                <a:gdLst>
                  <a:gd name="connsiteX0" fmla="*/ 99711 w 130530"/>
                  <a:gd name="connsiteY0" fmla="*/ 115422 h 151490"/>
                  <a:gd name="connsiteX1" fmla="*/ 29007 w 130530"/>
                  <a:gd name="connsiteY1" fmla="*/ 115422 h 151490"/>
                  <a:gd name="connsiteX2" fmla="*/ 16316 w 130530"/>
                  <a:gd name="connsiteY2" fmla="*/ 151491 h 151490"/>
                  <a:gd name="connsiteX3" fmla="*/ 0 w 130530"/>
                  <a:gd name="connsiteY3" fmla="*/ 151491 h 151490"/>
                  <a:gd name="connsiteX4" fmla="*/ 56201 w 130530"/>
                  <a:gd name="connsiteY4" fmla="*/ 0 h 151490"/>
                  <a:gd name="connsiteX5" fmla="*/ 74330 w 130530"/>
                  <a:gd name="connsiteY5" fmla="*/ 0 h 151490"/>
                  <a:gd name="connsiteX6" fmla="*/ 130531 w 130530"/>
                  <a:gd name="connsiteY6" fmla="*/ 151491 h 151490"/>
                  <a:gd name="connsiteX7" fmla="*/ 114214 w 130530"/>
                  <a:gd name="connsiteY7" fmla="*/ 151491 h 151490"/>
                  <a:gd name="connsiteX8" fmla="*/ 99711 w 130530"/>
                  <a:gd name="connsiteY8" fmla="*/ 115422 h 151490"/>
                  <a:gd name="connsiteX9" fmla="*/ 94272 w 130530"/>
                  <a:gd name="connsiteY9" fmla="*/ 102797 h 151490"/>
                  <a:gd name="connsiteX10" fmla="*/ 63453 w 130530"/>
                  <a:gd name="connsiteY10" fmla="*/ 19838 h 151490"/>
                  <a:gd name="connsiteX11" fmla="*/ 32632 w 130530"/>
                  <a:gd name="connsiteY11" fmla="*/ 102797 h 151490"/>
                  <a:gd name="connsiteX12" fmla="*/ 94272 w 130530"/>
                  <a:gd name="connsiteY12" fmla="*/ 102797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530" h="151490">
                    <a:moveTo>
                      <a:pt x="99711" y="115422"/>
                    </a:moveTo>
                    <a:lnTo>
                      <a:pt x="29007" y="115422"/>
                    </a:lnTo>
                    <a:lnTo>
                      <a:pt x="16316" y="151491"/>
                    </a:lnTo>
                    <a:lnTo>
                      <a:pt x="0" y="151491"/>
                    </a:lnTo>
                    <a:lnTo>
                      <a:pt x="56201" y="0"/>
                    </a:lnTo>
                    <a:lnTo>
                      <a:pt x="74330" y="0"/>
                    </a:lnTo>
                    <a:lnTo>
                      <a:pt x="130531" y="151491"/>
                    </a:lnTo>
                    <a:lnTo>
                      <a:pt x="114214" y="151491"/>
                    </a:lnTo>
                    <a:lnTo>
                      <a:pt x="99711" y="115422"/>
                    </a:lnTo>
                    <a:close/>
                    <a:moveTo>
                      <a:pt x="94272" y="102797"/>
                    </a:moveTo>
                    <a:lnTo>
                      <a:pt x="63453" y="19838"/>
                    </a:lnTo>
                    <a:lnTo>
                      <a:pt x="32632" y="102797"/>
                    </a:lnTo>
                    <a:lnTo>
                      <a:pt x="94272" y="102797"/>
                    </a:lnTo>
                    <a:close/>
                  </a:path>
                </a:pathLst>
              </a:custGeom>
              <a:solidFill>
                <a:srgbClr val="224F70"/>
              </a:solidFill>
              <a:ln w="18105" cap="flat">
                <a:noFill/>
                <a:prstDash val="solid"/>
                <a:miter/>
              </a:ln>
            </p:spPr>
            <p:txBody>
              <a:bodyPr rtlCol="0" anchor="ctr"/>
              <a:lstStyle/>
              <a:p>
                <a:endParaRPr lang="en-US"/>
              </a:p>
            </p:txBody>
          </p:sp>
          <p:sp>
            <p:nvSpPr>
              <p:cNvPr id="43" name="Forma libre 42">
                <a:extLst>
                  <a:ext uri="{FF2B5EF4-FFF2-40B4-BE49-F238E27FC236}">
                    <a16:creationId xmlns:a16="http://schemas.microsoft.com/office/drawing/2014/main" id="{657C83E2-B4C2-8041-9B84-43D67C2D2566}"/>
                  </a:ext>
                </a:extLst>
              </p:cNvPr>
              <p:cNvSpPr/>
              <p:nvPr/>
            </p:nvSpPr>
            <p:spPr>
              <a:xfrm>
                <a:off x="1752512" y="2743245"/>
                <a:ext cx="547504" cy="515790"/>
              </a:xfrm>
              <a:custGeom>
                <a:avLst/>
                <a:gdLst>
                  <a:gd name="connsiteX0" fmla="*/ 426038 w 547504"/>
                  <a:gd name="connsiteY0" fmla="*/ 515791 h 515790"/>
                  <a:gd name="connsiteX1" fmla="*/ 378902 w 547504"/>
                  <a:gd name="connsiteY1" fmla="*/ 400369 h 515790"/>
                  <a:gd name="connsiteX2" fmla="*/ 161351 w 547504"/>
                  <a:gd name="connsiteY2" fmla="*/ 400369 h 515790"/>
                  <a:gd name="connsiteX3" fmla="*/ 114215 w 547504"/>
                  <a:gd name="connsiteY3" fmla="*/ 515791 h 515790"/>
                  <a:gd name="connsiteX4" fmla="*/ 0 w 547504"/>
                  <a:gd name="connsiteY4" fmla="*/ 515791 h 515790"/>
                  <a:gd name="connsiteX5" fmla="*/ 221177 w 547504"/>
                  <a:gd name="connsiteY5" fmla="*/ 0 h 515790"/>
                  <a:gd name="connsiteX6" fmla="*/ 326327 w 547504"/>
                  <a:gd name="connsiteY6" fmla="*/ 0 h 515790"/>
                  <a:gd name="connsiteX7" fmla="*/ 547504 w 547504"/>
                  <a:gd name="connsiteY7" fmla="*/ 515791 h 515790"/>
                  <a:gd name="connsiteX8" fmla="*/ 426038 w 547504"/>
                  <a:gd name="connsiteY8" fmla="*/ 515791 h 515790"/>
                  <a:gd name="connsiteX9" fmla="*/ 270126 w 547504"/>
                  <a:gd name="connsiteY9" fmla="*/ 137063 h 515790"/>
                  <a:gd name="connsiteX10" fmla="*/ 201235 w 547504"/>
                  <a:gd name="connsiteY10" fmla="*/ 302982 h 515790"/>
                  <a:gd name="connsiteX11" fmla="*/ 337205 w 547504"/>
                  <a:gd name="connsiteY11" fmla="*/ 302982 h 515790"/>
                  <a:gd name="connsiteX12" fmla="*/ 270126 w 547504"/>
                  <a:gd name="connsiteY12" fmla="*/ 137063 h 51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504" h="515790">
                    <a:moveTo>
                      <a:pt x="426038" y="515791"/>
                    </a:moveTo>
                    <a:lnTo>
                      <a:pt x="378902" y="400369"/>
                    </a:lnTo>
                    <a:lnTo>
                      <a:pt x="161351" y="400369"/>
                    </a:lnTo>
                    <a:lnTo>
                      <a:pt x="114215" y="515791"/>
                    </a:lnTo>
                    <a:lnTo>
                      <a:pt x="0" y="515791"/>
                    </a:lnTo>
                    <a:lnTo>
                      <a:pt x="221177" y="0"/>
                    </a:lnTo>
                    <a:lnTo>
                      <a:pt x="326327" y="0"/>
                    </a:lnTo>
                    <a:lnTo>
                      <a:pt x="547504" y="515791"/>
                    </a:lnTo>
                    <a:lnTo>
                      <a:pt x="426038" y="515791"/>
                    </a:lnTo>
                    <a:close/>
                    <a:moveTo>
                      <a:pt x="270126" y="137063"/>
                    </a:moveTo>
                    <a:lnTo>
                      <a:pt x="201235" y="302982"/>
                    </a:lnTo>
                    <a:lnTo>
                      <a:pt x="337205" y="302982"/>
                    </a:lnTo>
                    <a:lnTo>
                      <a:pt x="270126" y="137063"/>
                    </a:lnTo>
                    <a:close/>
                  </a:path>
                </a:pathLst>
              </a:custGeom>
              <a:solidFill>
                <a:srgbClr val="232E47"/>
              </a:solidFill>
              <a:ln w="18105" cap="flat">
                <a:noFill/>
                <a:prstDash val="solid"/>
                <a:miter/>
              </a:ln>
            </p:spPr>
            <p:txBody>
              <a:bodyPr rtlCol="0" anchor="ctr"/>
              <a:lstStyle/>
              <a:p>
                <a:endParaRPr lang="en-US"/>
              </a:p>
            </p:txBody>
          </p:sp>
          <p:sp>
            <p:nvSpPr>
              <p:cNvPr id="44" name="Forma libre 43">
                <a:extLst>
                  <a:ext uri="{FF2B5EF4-FFF2-40B4-BE49-F238E27FC236}">
                    <a16:creationId xmlns:a16="http://schemas.microsoft.com/office/drawing/2014/main" id="{9DD3D7FC-9268-0449-8A55-F23E4E7C9886}"/>
                  </a:ext>
                </a:extLst>
              </p:cNvPr>
              <p:cNvSpPr/>
              <p:nvPr/>
            </p:nvSpPr>
            <p:spPr>
              <a:xfrm>
                <a:off x="2414231" y="2748655"/>
                <a:ext cx="455045" cy="510380"/>
              </a:xfrm>
              <a:custGeom>
                <a:avLst/>
                <a:gdLst>
                  <a:gd name="connsiteX0" fmla="*/ 358960 w 455045"/>
                  <a:gd name="connsiteY0" fmla="*/ 510380 h 510380"/>
                  <a:gd name="connsiteX1" fmla="*/ 110589 w 455045"/>
                  <a:gd name="connsiteY1" fmla="*/ 185757 h 510380"/>
                  <a:gd name="connsiteX2" fmla="*/ 110589 w 455045"/>
                  <a:gd name="connsiteY2" fmla="*/ 510380 h 510380"/>
                  <a:gd name="connsiteX3" fmla="*/ 0 w 455045"/>
                  <a:gd name="connsiteY3" fmla="*/ 510380 h 510380"/>
                  <a:gd name="connsiteX4" fmla="*/ 0 w 455045"/>
                  <a:gd name="connsiteY4" fmla="*/ 0 h 510380"/>
                  <a:gd name="connsiteX5" fmla="*/ 103337 w 455045"/>
                  <a:gd name="connsiteY5" fmla="*/ 0 h 510380"/>
                  <a:gd name="connsiteX6" fmla="*/ 344456 w 455045"/>
                  <a:gd name="connsiteY6" fmla="*/ 313803 h 510380"/>
                  <a:gd name="connsiteX7" fmla="*/ 344456 w 455045"/>
                  <a:gd name="connsiteY7" fmla="*/ 0 h 510380"/>
                  <a:gd name="connsiteX8" fmla="*/ 455045 w 455045"/>
                  <a:gd name="connsiteY8" fmla="*/ 0 h 510380"/>
                  <a:gd name="connsiteX9" fmla="*/ 455045 w 455045"/>
                  <a:gd name="connsiteY9" fmla="*/ 510380 h 51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045" h="510380">
                    <a:moveTo>
                      <a:pt x="358960" y="510380"/>
                    </a:moveTo>
                    <a:lnTo>
                      <a:pt x="110589" y="185757"/>
                    </a:lnTo>
                    <a:lnTo>
                      <a:pt x="110589" y="510380"/>
                    </a:lnTo>
                    <a:lnTo>
                      <a:pt x="0" y="510380"/>
                    </a:lnTo>
                    <a:lnTo>
                      <a:pt x="0" y="0"/>
                    </a:lnTo>
                    <a:lnTo>
                      <a:pt x="103337" y="0"/>
                    </a:lnTo>
                    <a:lnTo>
                      <a:pt x="344456" y="313803"/>
                    </a:lnTo>
                    <a:lnTo>
                      <a:pt x="344456" y="0"/>
                    </a:lnTo>
                    <a:lnTo>
                      <a:pt x="455045" y="0"/>
                    </a:lnTo>
                    <a:lnTo>
                      <a:pt x="455045" y="510380"/>
                    </a:lnTo>
                    <a:close/>
                  </a:path>
                </a:pathLst>
              </a:custGeom>
              <a:solidFill>
                <a:srgbClr val="232E47"/>
              </a:solidFill>
              <a:ln w="18105" cap="flat">
                <a:noFill/>
                <a:prstDash val="solid"/>
                <a:miter/>
              </a:ln>
            </p:spPr>
            <p:txBody>
              <a:bodyPr rtlCol="0" anchor="ctr"/>
              <a:lstStyle/>
              <a:p>
                <a:endParaRPr lang="en-US"/>
              </a:p>
            </p:txBody>
          </p:sp>
          <p:sp>
            <p:nvSpPr>
              <p:cNvPr id="45" name="Forma libre 44">
                <a:extLst>
                  <a:ext uri="{FF2B5EF4-FFF2-40B4-BE49-F238E27FC236}">
                    <a16:creationId xmlns:a16="http://schemas.microsoft.com/office/drawing/2014/main" id="{9E5E3F99-02CC-7343-BAA2-4743774AC79A}"/>
                  </a:ext>
                </a:extLst>
              </p:cNvPr>
              <p:cNvSpPr/>
              <p:nvPr/>
            </p:nvSpPr>
            <p:spPr>
              <a:xfrm>
                <a:off x="3030626" y="2748655"/>
                <a:ext cx="467735" cy="510380"/>
              </a:xfrm>
              <a:custGeom>
                <a:avLst/>
                <a:gdLst>
                  <a:gd name="connsiteX0" fmla="*/ 331766 w 467735"/>
                  <a:gd name="connsiteY0" fmla="*/ 510380 h 510380"/>
                  <a:gd name="connsiteX1" fmla="*/ 172228 w 467735"/>
                  <a:gd name="connsiteY1" fmla="*/ 293965 h 510380"/>
                  <a:gd name="connsiteX2" fmla="*/ 112402 w 467735"/>
                  <a:gd name="connsiteY2" fmla="*/ 355282 h 510380"/>
                  <a:gd name="connsiteX3" fmla="*/ 112402 w 467735"/>
                  <a:gd name="connsiteY3" fmla="*/ 510380 h 510380"/>
                  <a:gd name="connsiteX4" fmla="*/ 0 w 467735"/>
                  <a:gd name="connsiteY4" fmla="*/ 510380 h 510380"/>
                  <a:gd name="connsiteX5" fmla="*/ 0 w 467735"/>
                  <a:gd name="connsiteY5" fmla="*/ 0 h 510380"/>
                  <a:gd name="connsiteX6" fmla="*/ 112402 w 467735"/>
                  <a:gd name="connsiteY6" fmla="*/ 0 h 510380"/>
                  <a:gd name="connsiteX7" fmla="*/ 112402 w 467735"/>
                  <a:gd name="connsiteY7" fmla="*/ 223630 h 510380"/>
                  <a:gd name="connsiteX8" fmla="*/ 320888 w 467735"/>
                  <a:gd name="connsiteY8" fmla="*/ 0 h 510380"/>
                  <a:gd name="connsiteX9" fmla="*/ 458671 w 467735"/>
                  <a:gd name="connsiteY9" fmla="*/ 0 h 510380"/>
                  <a:gd name="connsiteX10" fmla="*/ 248371 w 467735"/>
                  <a:gd name="connsiteY10" fmla="*/ 216416 h 510380"/>
                  <a:gd name="connsiteX11" fmla="*/ 467736 w 467735"/>
                  <a:gd name="connsiteY11" fmla="*/ 510380 h 51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7735" h="510380">
                    <a:moveTo>
                      <a:pt x="331766" y="510380"/>
                    </a:moveTo>
                    <a:lnTo>
                      <a:pt x="172228" y="293965"/>
                    </a:lnTo>
                    <a:lnTo>
                      <a:pt x="112402" y="355282"/>
                    </a:lnTo>
                    <a:lnTo>
                      <a:pt x="112402" y="510380"/>
                    </a:lnTo>
                    <a:lnTo>
                      <a:pt x="0" y="510380"/>
                    </a:lnTo>
                    <a:lnTo>
                      <a:pt x="0" y="0"/>
                    </a:lnTo>
                    <a:lnTo>
                      <a:pt x="112402" y="0"/>
                    </a:lnTo>
                    <a:lnTo>
                      <a:pt x="112402" y="223630"/>
                    </a:lnTo>
                    <a:lnTo>
                      <a:pt x="320888" y="0"/>
                    </a:lnTo>
                    <a:lnTo>
                      <a:pt x="458671" y="0"/>
                    </a:lnTo>
                    <a:lnTo>
                      <a:pt x="248371" y="216416"/>
                    </a:lnTo>
                    <a:lnTo>
                      <a:pt x="467736" y="510380"/>
                    </a:lnTo>
                    <a:close/>
                  </a:path>
                </a:pathLst>
              </a:custGeom>
              <a:solidFill>
                <a:srgbClr val="232E47"/>
              </a:solidFill>
              <a:ln w="18105" cap="flat">
                <a:noFill/>
                <a:prstDash val="solid"/>
                <a:miter/>
              </a:ln>
            </p:spPr>
            <p:txBody>
              <a:bodyPr rtlCol="0" anchor="ctr"/>
              <a:lstStyle/>
              <a:p>
                <a:endParaRPr lang="en-US"/>
              </a:p>
            </p:txBody>
          </p:sp>
          <p:sp>
            <p:nvSpPr>
              <p:cNvPr id="46" name="Forma libre 45">
                <a:extLst>
                  <a:ext uri="{FF2B5EF4-FFF2-40B4-BE49-F238E27FC236}">
                    <a16:creationId xmlns:a16="http://schemas.microsoft.com/office/drawing/2014/main" id="{023B89B3-A017-E349-AF16-2C2514333B83}"/>
                  </a:ext>
                </a:extLst>
              </p:cNvPr>
              <p:cNvSpPr/>
              <p:nvPr/>
            </p:nvSpPr>
            <p:spPr>
              <a:xfrm>
                <a:off x="3603512" y="2748655"/>
                <a:ext cx="389779" cy="510380"/>
              </a:xfrm>
              <a:custGeom>
                <a:avLst/>
                <a:gdLst>
                  <a:gd name="connsiteX0" fmla="*/ 0 w 389779"/>
                  <a:gd name="connsiteY0" fmla="*/ 510380 h 510380"/>
                  <a:gd name="connsiteX1" fmla="*/ 0 w 389779"/>
                  <a:gd name="connsiteY1" fmla="*/ 0 h 510380"/>
                  <a:gd name="connsiteX2" fmla="*/ 386154 w 389779"/>
                  <a:gd name="connsiteY2" fmla="*/ 0 h 510380"/>
                  <a:gd name="connsiteX3" fmla="*/ 386154 w 389779"/>
                  <a:gd name="connsiteY3" fmla="*/ 99191 h 510380"/>
                  <a:gd name="connsiteX4" fmla="*/ 110588 w 389779"/>
                  <a:gd name="connsiteY4" fmla="*/ 99191 h 510380"/>
                  <a:gd name="connsiteX5" fmla="*/ 110588 w 389779"/>
                  <a:gd name="connsiteY5" fmla="*/ 203791 h 510380"/>
                  <a:gd name="connsiteX6" fmla="*/ 353521 w 389779"/>
                  <a:gd name="connsiteY6" fmla="*/ 203791 h 510380"/>
                  <a:gd name="connsiteX7" fmla="*/ 353521 w 389779"/>
                  <a:gd name="connsiteY7" fmla="*/ 302982 h 510380"/>
                  <a:gd name="connsiteX8" fmla="*/ 110588 w 389779"/>
                  <a:gd name="connsiteY8" fmla="*/ 302982 h 510380"/>
                  <a:gd name="connsiteX9" fmla="*/ 110588 w 389779"/>
                  <a:gd name="connsiteY9" fmla="*/ 411190 h 510380"/>
                  <a:gd name="connsiteX10" fmla="*/ 389780 w 389779"/>
                  <a:gd name="connsiteY10" fmla="*/ 411190 h 510380"/>
                  <a:gd name="connsiteX11" fmla="*/ 389780 w 389779"/>
                  <a:gd name="connsiteY11" fmla="*/ 510380 h 51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9779" h="510380">
                    <a:moveTo>
                      <a:pt x="0" y="510380"/>
                    </a:moveTo>
                    <a:lnTo>
                      <a:pt x="0" y="0"/>
                    </a:lnTo>
                    <a:lnTo>
                      <a:pt x="386154" y="0"/>
                    </a:lnTo>
                    <a:lnTo>
                      <a:pt x="386154" y="99191"/>
                    </a:lnTo>
                    <a:lnTo>
                      <a:pt x="110588" y="99191"/>
                    </a:lnTo>
                    <a:lnTo>
                      <a:pt x="110588" y="203791"/>
                    </a:lnTo>
                    <a:lnTo>
                      <a:pt x="353521" y="203791"/>
                    </a:lnTo>
                    <a:lnTo>
                      <a:pt x="353521" y="302982"/>
                    </a:lnTo>
                    <a:lnTo>
                      <a:pt x="110588" y="302982"/>
                    </a:lnTo>
                    <a:lnTo>
                      <a:pt x="110588" y="411190"/>
                    </a:lnTo>
                    <a:lnTo>
                      <a:pt x="389780" y="411190"/>
                    </a:lnTo>
                    <a:lnTo>
                      <a:pt x="389780" y="510380"/>
                    </a:lnTo>
                    <a:close/>
                  </a:path>
                </a:pathLst>
              </a:custGeom>
              <a:solidFill>
                <a:srgbClr val="232E47"/>
              </a:solidFill>
              <a:ln w="18105" cap="flat">
                <a:noFill/>
                <a:prstDash val="solid"/>
                <a:miter/>
              </a:ln>
            </p:spPr>
            <p:txBody>
              <a:bodyPr rtlCol="0" anchor="ctr"/>
              <a:lstStyle/>
              <a:p>
                <a:endParaRPr lang="en-US"/>
              </a:p>
            </p:txBody>
          </p:sp>
          <p:sp>
            <p:nvSpPr>
              <p:cNvPr id="47" name="Forma libre 46">
                <a:extLst>
                  <a:ext uri="{FF2B5EF4-FFF2-40B4-BE49-F238E27FC236}">
                    <a16:creationId xmlns:a16="http://schemas.microsoft.com/office/drawing/2014/main" id="{42BA3B56-8F9A-C744-B104-141DBE5A49FE}"/>
                  </a:ext>
                </a:extLst>
              </p:cNvPr>
              <p:cNvSpPr/>
              <p:nvPr/>
            </p:nvSpPr>
            <p:spPr>
              <a:xfrm>
                <a:off x="4131074" y="2748655"/>
                <a:ext cx="444167" cy="512183"/>
              </a:xfrm>
              <a:custGeom>
                <a:avLst/>
                <a:gdLst>
                  <a:gd name="connsiteX0" fmla="*/ 311824 w 444167"/>
                  <a:gd name="connsiteY0" fmla="*/ 510380 h 512183"/>
                  <a:gd name="connsiteX1" fmla="*/ 201235 w 444167"/>
                  <a:gd name="connsiteY1" fmla="*/ 346265 h 512183"/>
                  <a:gd name="connsiteX2" fmla="*/ 112402 w 444167"/>
                  <a:gd name="connsiteY2" fmla="*/ 346265 h 512183"/>
                  <a:gd name="connsiteX3" fmla="*/ 112402 w 444167"/>
                  <a:gd name="connsiteY3" fmla="*/ 510380 h 512183"/>
                  <a:gd name="connsiteX4" fmla="*/ 0 w 444167"/>
                  <a:gd name="connsiteY4" fmla="*/ 510380 h 512183"/>
                  <a:gd name="connsiteX5" fmla="*/ 0 w 444167"/>
                  <a:gd name="connsiteY5" fmla="*/ 0 h 512183"/>
                  <a:gd name="connsiteX6" fmla="*/ 235681 w 444167"/>
                  <a:gd name="connsiteY6" fmla="*/ 0 h 512183"/>
                  <a:gd name="connsiteX7" fmla="*/ 378902 w 444167"/>
                  <a:gd name="connsiteY7" fmla="*/ 45087 h 512183"/>
                  <a:gd name="connsiteX8" fmla="*/ 429664 w 444167"/>
                  <a:gd name="connsiteY8" fmla="*/ 169526 h 512183"/>
                  <a:gd name="connsiteX9" fmla="*/ 429664 w 444167"/>
                  <a:gd name="connsiteY9" fmla="*/ 171329 h 512183"/>
                  <a:gd name="connsiteX10" fmla="*/ 398844 w 444167"/>
                  <a:gd name="connsiteY10" fmla="*/ 272323 h 512183"/>
                  <a:gd name="connsiteX11" fmla="*/ 319076 w 444167"/>
                  <a:gd name="connsiteY11" fmla="*/ 330034 h 512183"/>
                  <a:gd name="connsiteX12" fmla="*/ 444168 w 444167"/>
                  <a:gd name="connsiteY12" fmla="*/ 512184 h 512183"/>
                  <a:gd name="connsiteX13" fmla="*/ 311824 w 444167"/>
                  <a:gd name="connsiteY13" fmla="*/ 512184 h 512183"/>
                  <a:gd name="connsiteX14" fmla="*/ 315450 w 444167"/>
                  <a:gd name="connsiteY14" fmla="*/ 174936 h 512183"/>
                  <a:gd name="connsiteX15" fmla="*/ 291882 w 444167"/>
                  <a:gd name="connsiteY15" fmla="*/ 120832 h 512183"/>
                  <a:gd name="connsiteX16" fmla="*/ 226616 w 444167"/>
                  <a:gd name="connsiteY16" fmla="*/ 102797 h 512183"/>
                  <a:gd name="connsiteX17" fmla="*/ 114215 w 444167"/>
                  <a:gd name="connsiteY17" fmla="*/ 102797 h 512183"/>
                  <a:gd name="connsiteX18" fmla="*/ 114215 w 444167"/>
                  <a:gd name="connsiteY18" fmla="*/ 248878 h 512183"/>
                  <a:gd name="connsiteX19" fmla="*/ 228429 w 444167"/>
                  <a:gd name="connsiteY19" fmla="*/ 248878 h 512183"/>
                  <a:gd name="connsiteX20" fmla="*/ 291882 w 444167"/>
                  <a:gd name="connsiteY20" fmla="*/ 229040 h 512183"/>
                  <a:gd name="connsiteX21" fmla="*/ 315450 w 444167"/>
                  <a:gd name="connsiteY21" fmla="*/ 174936 h 512183"/>
                  <a:gd name="connsiteX22" fmla="*/ 315450 w 444167"/>
                  <a:gd name="connsiteY22" fmla="*/ 174936 h 51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4167" h="512183">
                    <a:moveTo>
                      <a:pt x="311824" y="510380"/>
                    </a:moveTo>
                    <a:lnTo>
                      <a:pt x="201235" y="346265"/>
                    </a:lnTo>
                    <a:lnTo>
                      <a:pt x="112402" y="346265"/>
                    </a:lnTo>
                    <a:lnTo>
                      <a:pt x="112402" y="510380"/>
                    </a:lnTo>
                    <a:lnTo>
                      <a:pt x="0" y="510380"/>
                    </a:lnTo>
                    <a:lnTo>
                      <a:pt x="0" y="0"/>
                    </a:lnTo>
                    <a:lnTo>
                      <a:pt x="235681" y="0"/>
                    </a:lnTo>
                    <a:cubicBezTo>
                      <a:pt x="297320" y="0"/>
                      <a:pt x="344456" y="14428"/>
                      <a:pt x="378902" y="45087"/>
                    </a:cubicBezTo>
                    <a:cubicBezTo>
                      <a:pt x="413348" y="73942"/>
                      <a:pt x="429664" y="115422"/>
                      <a:pt x="429664" y="169526"/>
                    </a:cubicBezTo>
                    <a:lnTo>
                      <a:pt x="429664" y="171329"/>
                    </a:lnTo>
                    <a:cubicBezTo>
                      <a:pt x="429664" y="212809"/>
                      <a:pt x="418787" y="247075"/>
                      <a:pt x="398844" y="272323"/>
                    </a:cubicBezTo>
                    <a:cubicBezTo>
                      <a:pt x="378902" y="297572"/>
                      <a:pt x="351708" y="317410"/>
                      <a:pt x="319076" y="330034"/>
                    </a:cubicBezTo>
                    <a:lnTo>
                      <a:pt x="444168" y="512184"/>
                    </a:lnTo>
                    <a:lnTo>
                      <a:pt x="311824" y="512184"/>
                    </a:lnTo>
                    <a:close/>
                    <a:moveTo>
                      <a:pt x="315450" y="174936"/>
                    </a:moveTo>
                    <a:cubicBezTo>
                      <a:pt x="315450" y="149688"/>
                      <a:pt x="308198" y="131653"/>
                      <a:pt x="291882" y="120832"/>
                    </a:cubicBezTo>
                    <a:cubicBezTo>
                      <a:pt x="275565" y="108208"/>
                      <a:pt x="253810" y="102797"/>
                      <a:pt x="226616" y="102797"/>
                    </a:cubicBezTo>
                    <a:lnTo>
                      <a:pt x="114215" y="102797"/>
                    </a:lnTo>
                    <a:lnTo>
                      <a:pt x="114215" y="248878"/>
                    </a:lnTo>
                    <a:lnTo>
                      <a:pt x="228429" y="248878"/>
                    </a:lnTo>
                    <a:cubicBezTo>
                      <a:pt x="255623" y="248878"/>
                      <a:pt x="277378" y="241664"/>
                      <a:pt x="291882" y="229040"/>
                    </a:cubicBezTo>
                    <a:cubicBezTo>
                      <a:pt x="308198" y="214612"/>
                      <a:pt x="315450" y="198381"/>
                      <a:pt x="315450" y="174936"/>
                    </a:cubicBezTo>
                    <a:lnTo>
                      <a:pt x="315450" y="174936"/>
                    </a:lnTo>
                    <a:close/>
                  </a:path>
                </a:pathLst>
              </a:custGeom>
              <a:solidFill>
                <a:srgbClr val="232E47"/>
              </a:solidFill>
              <a:ln w="18105" cap="flat">
                <a:noFill/>
                <a:prstDash val="solid"/>
                <a:miter/>
              </a:ln>
            </p:spPr>
            <p:txBody>
              <a:bodyPr rtlCol="0" anchor="ctr"/>
              <a:lstStyle/>
              <a:p>
                <a:endParaRPr lang="en-US"/>
              </a:p>
            </p:txBody>
          </p:sp>
        </p:grpSp>
      </p:grpSp>
      <p:cxnSp>
        <p:nvCxnSpPr>
          <p:cNvPr id="75" name="Conector recto 74">
            <a:extLst>
              <a:ext uri="{FF2B5EF4-FFF2-40B4-BE49-F238E27FC236}">
                <a16:creationId xmlns:a16="http://schemas.microsoft.com/office/drawing/2014/main" id="{98989935-DA6F-BD46-BC6F-3863F776FE40}"/>
              </a:ext>
            </a:extLst>
          </p:cNvPr>
          <p:cNvCxnSpPr>
            <a:cxnSpLocks/>
          </p:cNvCxnSpPr>
          <p:nvPr userDrawn="1"/>
        </p:nvCxnSpPr>
        <p:spPr>
          <a:xfrm>
            <a:off x="940828" y="3685880"/>
            <a:ext cx="405552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12430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6_Custom Layout">
    <p:bg>
      <p:bgPr>
        <a:gradFill>
          <a:gsLst>
            <a:gs pos="57100">
              <a:schemeClr val="accent2"/>
            </a:gs>
            <a:gs pos="0">
              <a:schemeClr val="accent3"/>
            </a:gs>
            <a:gs pos="100000">
              <a:schemeClr val="tx2"/>
            </a:gs>
          </a:gsLst>
          <a:lin ang="7200000" scaled="0"/>
        </a:gra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C60B2D9-00F6-4BF9-822E-471D1F4ADAF1}"/>
              </a:ext>
            </a:extLst>
          </p:cNvPr>
          <p:cNvGraphicFramePr>
            <a:graphicFrameLocks noChangeAspect="1"/>
          </p:cNvGraphicFramePr>
          <p:nvPr userDrawn="1">
            <p:custDataLst>
              <p:tags r:id="rId1"/>
            </p:custDataLst>
            <p:extLst>
              <p:ext uri="{D42A27DB-BD31-4B8C-83A1-F6EECF244321}">
                <p14:modId xmlns:p14="http://schemas.microsoft.com/office/powerpoint/2010/main" val="647955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16" name="Object 15" hidden="1">
                        <a:extLst>
                          <a:ext uri="{FF2B5EF4-FFF2-40B4-BE49-F238E27FC236}">
                            <a16:creationId xmlns:a16="http://schemas.microsoft.com/office/drawing/2014/main" id="{FC60B2D9-00F6-4BF9-822E-471D1F4ADA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CB484D4-7BC8-4CA4-AE2B-E5A36484CB82}"/>
              </a:ext>
            </a:extLst>
          </p:cNvPr>
          <p:cNvSpPr>
            <a:spLocks noGrp="1"/>
          </p:cNvSpPr>
          <p:nvPr>
            <p:ph type="title"/>
          </p:nvPr>
        </p:nvSpPr>
        <p:spPr>
          <a:xfrm>
            <a:off x="192087" y="287370"/>
            <a:ext cx="11807823" cy="830997"/>
          </a:xfrm>
        </p:spPr>
        <p:txBody>
          <a:bodyPr vert="horz"/>
          <a:lstStyle>
            <a:lvl1pPr>
              <a:defRPr>
                <a:latin typeface="+mj-lt"/>
                <a:ea typeface="Open Sans" panose="020B0606030504020204" pitchFamily="34" charset="0"/>
                <a:cs typeface="Poppins" pitchFamily="2" charset="77"/>
              </a:defRPr>
            </a:lvl1pPr>
          </a:lstStyle>
          <a:p>
            <a:r>
              <a:rPr lang="en-US" dirty="0"/>
              <a:t>Click to edit Master title style</a:t>
            </a:r>
          </a:p>
        </p:txBody>
      </p:sp>
      <p:sp>
        <p:nvSpPr>
          <p:cNvPr id="12" name="Text Placeholder 11">
            <a:extLst>
              <a:ext uri="{FF2B5EF4-FFF2-40B4-BE49-F238E27FC236}">
                <a16:creationId xmlns:a16="http://schemas.microsoft.com/office/drawing/2014/main" id="{3D124820-FA1E-47F8-A80E-EF7C9D083D58}"/>
              </a:ext>
            </a:extLst>
          </p:cNvPr>
          <p:cNvSpPr>
            <a:spLocks noGrp="1"/>
          </p:cNvSpPr>
          <p:nvPr>
            <p:ph type="body" sz="quarter" idx="12"/>
          </p:nvPr>
        </p:nvSpPr>
        <p:spPr>
          <a:xfrm>
            <a:off x="192087" y="1628775"/>
            <a:ext cx="11807826" cy="46085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3">
            <a:extLst>
              <a:ext uri="{FF2B5EF4-FFF2-40B4-BE49-F238E27FC236}">
                <a16:creationId xmlns:a16="http://schemas.microsoft.com/office/drawing/2014/main" id="{248559AE-AE89-418A-8429-5207657E578A}"/>
              </a:ext>
            </a:extLst>
          </p:cNvPr>
          <p:cNvSpPr>
            <a:spLocks noGrp="1"/>
          </p:cNvSpPr>
          <p:nvPr>
            <p:ph type="body" sz="quarter" idx="13" hasCustomPrompt="1"/>
          </p:nvPr>
        </p:nvSpPr>
        <p:spPr>
          <a:xfrm>
            <a:off x="192088" y="1248845"/>
            <a:ext cx="11807822" cy="261610"/>
          </a:xfrm>
          <a:noFill/>
        </p:spPr>
        <p:txBody>
          <a:bodyPr wrap="square" lIns="0" tIns="46800" rIns="90000" bIns="46800" rtlCol="0">
            <a:noAutofit/>
          </a:bodyPr>
          <a:lstStyle>
            <a:lvl1pPr marL="0" indent="0">
              <a:buNone/>
              <a:defRPr lang="en-US" sz="1100" b="0" cap="all" spc="200" baseline="0" dirty="0">
                <a:solidFill>
                  <a:schemeClr val="accent2"/>
                </a:solidFill>
                <a:latin typeface="+mj-lt"/>
                <a:ea typeface="Open Sans" panose="020B0606030504020204" pitchFamily="34" charset="0"/>
                <a:cs typeface="Poppins" pitchFamily="2" charset="77"/>
              </a:defRPr>
            </a:lvl1pPr>
          </a:lstStyle>
          <a:p>
            <a:pPr marL="0" lvl="0"/>
            <a:r>
              <a:rPr lang="en-US" dirty="0"/>
              <a:t>subtitle</a:t>
            </a:r>
          </a:p>
        </p:txBody>
      </p:sp>
      <p:sp>
        <p:nvSpPr>
          <p:cNvPr id="19" name="Text Placeholder 18">
            <a:extLst>
              <a:ext uri="{FF2B5EF4-FFF2-40B4-BE49-F238E27FC236}">
                <a16:creationId xmlns:a16="http://schemas.microsoft.com/office/drawing/2014/main" id="{387E60F8-4261-47AD-8B45-F0662BEC253C}"/>
              </a:ext>
            </a:extLst>
          </p:cNvPr>
          <p:cNvSpPr>
            <a:spLocks noGrp="1"/>
          </p:cNvSpPr>
          <p:nvPr>
            <p:ph type="body" sz="quarter" idx="14" hasCustomPrompt="1"/>
          </p:nvPr>
        </p:nvSpPr>
        <p:spPr>
          <a:xfrm>
            <a:off x="192088" y="1149663"/>
            <a:ext cx="300038" cy="10800"/>
          </a:xfrm>
          <a:solidFill>
            <a:schemeClr val="accent2"/>
          </a:solidFill>
        </p:spPr>
        <p:txBody>
          <a:bodyPr/>
          <a:lstStyle>
            <a:lvl1pPr marL="0" indent="0">
              <a:buNone/>
              <a:defRPr/>
            </a:lvl1pPr>
          </a:lstStyle>
          <a:p>
            <a:pPr lvl="0"/>
            <a:r>
              <a:rPr lang="en-US" dirty="0"/>
              <a:t> </a:t>
            </a:r>
          </a:p>
        </p:txBody>
      </p:sp>
      <p:sp>
        <p:nvSpPr>
          <p:cNvPr id="22" name="Footer Placeholder 21">
            <a:extLst>
              <a:ext uri="{FF2B5EF4-FFF2-40B4-BE49-F238E27FC236}">
                <a16:creationId xmlns:a16="http://schemas.microsoft.com/office/drawing/2014/main" id="{6C07AD27-D55E-4EDF-81D2-8A093B828D87}"/>
              </a:ext>
            </a:extLst>
          </p:cNvPr>
          <p:cNvSpPr>
            <a:spLocks noGrp="1"/>
          </p:cNvSpPr>
          <p:nvPr>
            <p:ph type="ftr" sz="quarter" idx="16"/>
          </p:nvPr>
        </p:nvSpPr>
        <p:spPr/>
        <p:txBody>
          <a:bodyPr/>
          <a:lstStyle>
            <a:lvl1pPr>
              <a:defRPr>
                <a:solidFill>
                  <a:schemeClr val="bg1"/>
                </a:solidFill>
              </a:defRPr>
            </a:lvl1pPr>
          </a:lstStyle>
          <a:p>
            <a:endParaRPr lang="en-US" dirty="0"/>
          </a:p>
        </p:txBody>
      </p:sp>
      <p:sp>
        <p:nvSpPr>
          <p:cNvPr id="23" name="Slide Number Placeholder 22">
            <a:extLst>
              <a:ext uri="{FF2B5EF4-FFF2-40B4-BE49-F238E27FC236}">
                <a16:creationId xmlns:a16="http://schemas.microsoft.com/office/drawing/2014/main" id="{3848D985-51C8-45E1-935E-F44F20104B00}"/>
              </a:ext>
            </a:extLst>
          </p:cNvPr>
          <p:cNvSpPr>
            <a:spLocks noGrp="1"/>
          </p:cNvSpPr>
          <p:nvPr>
            <p:ph type="sldNum" sz="quarter" idx="17"/>
          </p:nvPr>
        </p:nvSpPr>
        <p:spPr/>
        <p:txBody>
          <a:bodyPr/>
          <a:lstStyle>
            <a:lvl1pPr>
              <a:defRPr>
                <a:solidFill>
                  <a:schemeClr val="bg1"/>
                </a:solidFill>
              </a:defRPr>
            </a:lvl1pPr>
          </a:lstStyle>
          <a:p>
            <a:fld id="{9F427BA5-3988-40EC-8E11-9F7B5510E66B}" type="slidenum">
              <a:rPr lang="en-GB" smtClean="0"/>
              <a:pPr/>
              <a:t>‹#›</a:t>
            </a:fld>
            <a:endParaRPr lang="en-GB"/>
          </a:p>
        </p:txBody>
      </p:sp>
      <p:sp>
        <p:nvSpPr>
          <p:cNvPr id="15" name="TextBox 14">
            <a:extLst>
              <a:ext uri="{FF2B5EF4-FFF2-40B4-BE49-F238E27FC236}">
                <a16:creationId xmlns:a16="http://schemas.microsoft.com/office/drawing/2014/main" id="{98B8C37F-4008-854F-B367-614E29F3BDE6}"/>
              </a:ext>
            </a:extLst>
          </p:cNvPr>
          <p:cNvSpPr txBox="1"/>
          <p:nvPr userDrawn="1"/>
        </p:nvSpPr>
        <p:spPr>
          <a:xfrm>
            <a:off x="192087" y="6431190"/>
            <a:ext cx="1999265" cy="215444"/>
          </a:xfrm>
          <a:prstGeom prst="rect">
            <a:avLst/>
          </a:prstGeom>
        </p:spPr>
        <p:txBody>
          <a:bodyPr vert="horz" lIns="0" tIns="0" rIns="0" bIns="0" rtlCol="0" anchor="ctr">
            <a:noAutofit/>
          </a:bodyPr>
          <a:lstStyle>
            <a:defPPr>
              <a:defRPr lang="en-US"/>
            </a:defPPr>
            <a:lvl1pPr>
              <a:defRPr sz="800">
                <a:solidFill>
                  <a:schemeClr val="tx1">
                    <a:tint val="75000"/>
                  </a:schemeClr>
                </a:solidFill>
                <a:ea typeface="Open Sans" panose="020B0606030504020204" pitchFamily="34" charset="0"/>
                <a:cs typeface="Open Sans" panose="020B0606030504020204" pitchFamily="34" charset="0"/>
              </a:defRPr>
            </a:lvl1pPr>
          </a:lstStyle>
          <a:p>
            <a:pPr lvl="0"/>
            <a:r>
              <a:rPr lang="en-AR" dirty="0">
                <a:solidFill>
                  <a:schemeClr val="bg1"/>
                </a:solidFill>
              </a:rPr>
              <a:t>@ ANKER ALL RIGHTS RESERVED 2022</a:t>
            </a:r>
          </a:p>
        </p:txBody>
      </p:sp>
    </p:spTree>
    <p:extLst>
      <p:ext uri="{BB962C8B-B14F-4D97-AF65-F5344CB8AC3E}">
        <p14:creationId xmlns:p14="http://schemas.microsoft.com/office/powerpoint/2010/main" val="3454862652"/>
      </p:ext>
    </p:extLst>
  </p:cSld>
  <p:clrMapOvr>
    <a:masterClrMapping/>
  </p:clrMapOvr>
  <p:extLst>
    <p:ext uri="{DCECCB84-F9BA-43D5-87BE-67443E8EF086}">
      <p15:sldGuideLst xmlns:p15="http://schemas.microsoft.com/office/powerpoint/2012/main">
        <p15:guide id="1" orient="horz" pos="102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C60B2D9-00F6-4BF9-822E-471D1F4ADAF1}"/>
              </a:ext>
            </a:extLst>
          </p:cNvPr>
          <p:cNvGraphicFramePr>
            <a:graphicFrameLocks noChangeAspect="1"/>
          </p:cNvGraphicFramePr>
          <p:nvPr userDrawn="1">
            <p:custDataLst>
              <p:tags r:id="rId1"/>
            </p:custDataLst>
            <p:extLst>
              <p:ext uri="{D42A27DB-BD31-4B8C-83A1-F6EECF244321}">
                <p14:modId xmlns:p14="http://schemas.microsoft.com/office/powerpoint/2010/main" val="184400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CB484D4-7BC8-4CA4-AE2B-E5A36484CB82}"/>
              </a:ext>
            </a:extLst>
          </p:cNvPr>
          <p:cNvSpPr>
            <a:spLocks noGrp="1"/>
          </p:cNvSpPr>
          <p:nvPr>
            <p:ph type="title"/>
          </p:nvPr>
        </p:nvSpPr>
        <p:spPr>
          <a:xfrm>
            <a:off x="192087" y="287370"/>
            <a:ext cx="11807823" cy="830997"/>
          </a:xfrm>
        </p:spPr>
        <p:txBody>
          <a:bodyPr vert="horz" anchor="b"/>
          <a:lstStyle>
            <a:lvl1pPr>
              <a:defRPr sz="2800">
                <a:latin typeface="+mj-lt"/>
                <a:ea typeface="Open Sans" panose="020B0606030504020204" pitchFamily="34" charset="0"/>
                <a:cs typeface="Poppins" pitchFamily="2" charset="77"/>
              </a:defRPr>
            </a:lvl1pPr>
          </a:lstStyle>
          <a:p>
            <a:r>
              <a:rPr lang="en-US" dirty="0"/>
              <a:t>Click to edit Master title style</a:t>
            </a:r>
          </a:p>
        </p:txBody>
      </p:sp>
      <p:sp>
        <p:nvSpPr>
          <p:cNvPr id="12" name="Text Placeholder 11">
            <a:extLst>
              <a:ext uri="{FF2B5EF4-FFF2-40B4-BE49-F238E27FC236}">
                <a16:creationId xmlns:a16="http://schemas.microsoft.com/office/drawing/2014/main" id="{3D124820-FA1E-47F8-A80E-EF7C9D083D58}"/>
              </a:ext>
            </a:extLst>
          </p:cNvPr>
          <p:cNvSpPr>
            <a:spLocks noGrp="1"/>
          </p:cNvSpPr>
          <p:nvPr>
            <p:ph type="body" sz="quarter" idx="12"/>
          </p:nvPr>
        </p:nvSpPr>
        <p:spPr>
          <a:xfrm>
            <a:off x="192087" y="1628775"/>
            <a:ext cx="11807826" cy="4608513"/>
          </a:xfrm>
        </p:spPr>
        <p:txBody>
          <a:bodyPr/>
          <a:lstStyle>
            <a:lvl1pPr marL="230188" indent="-230188">
              <a:spcBef>
                <a:spcPts val="600"/>
              </a:spcBef>
              <a:spcAft>
                <a:spcPts val="600"/>
              </a:spcAft>
              <a:tabLst/>
              <a:defRPr/>
            </a:lvl1pPr>
            <a:lvl2pPr marL="541338" indent="-266700">
              <a:spcBef>
                <a:spcPts val="600"/>
              </a:spcBef>
              <a:spcAft>
                <a:spcPts val="600"/>
              </a:spcAft>
              <a:buFont typeface="Tipo de letra del sistema regular"/>
              <a:buChar char="–"/>
              <a:tabLst/>
              <a:defRPr/>
            </a:lvl2pPr>
            <a:lvl3pPr marL="808038" indent="-266700">
              <a:spcBef>
                <a:spcPts val="600"/>
              </a:spcBef>
              <a:spcAft>
                <a:spcPts val="600"/>
              </a:spcAft>
              <a:tabLst/>
              <a:defRPr/>
            </a:lvl3pPr>
            <a:lvl4pPr marL="1073150" indent="-265113">
              <a:spcBef>
                <a:spcPts val="600"/>
              </a:spcBef>
              <a:spcAft>
                <a:spcPts val="600"/>
              </a:spcAft>
              <a:buFont typeface="Tipo de letra del sistema regular"/>
              <a:buChar char="–"/>
              <a:tabLst/>
              <a:defRPr/>
            </a:lvl4pPr>
            <a:lvl5pPr marL="1339850" indent="-266700">
              <a:spcBef>
                <a:spcPts val="600"/>
              </a:spcBef>
              <a:spcAft>
                <a:spcPts val="600"/>
              </a:spcAft>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3">
            <a:extLst>
              <a:ext uri="{FF2B5EF4-FFF2-40B4-BE49-F238E27FC236}">
                <a16:creationId xmlns:a16="http://schemas.microsoft.com/office/drawing/2014/main" id="{248559AE-AE89-418A-8429-5207657E578A}"/>
              </a:ext>
            </a:extLst>
          </p:cNvPr>
          <p:cNvSpPr>
            <a:spLocks noGrp="1"/>
          </p:cNvSpPr>
          <p:nvPr>
            <p:ph type="body" sz="quarter" idx="13" hasCustomPrompt="1"/>
          </p:nvPr>
        </p:nvSpPr>
        <p:spPr>
          <a:xfrm>
            <a:off x="192088" y="1248845"/>
            <a:ext cx="11807822" cy="261610"/>
          </a:xfrm>
          <a:noFill/>
        </p:spPr>
        <p:txBody>
          <a:bodyPr wrap="square" lIns="0" tIns="46800" rIns="90000" bIns="46800" rtlCol="0">
            <a:noAutofit/>
          </a:bodyPr>
          <a:lstStyle>
            <a:lvl1pPr marL="0" indent="0">
              <a:buNone/>
              <a:defRPr lang="en-US" sz="1100" b="0" cap="all" spc="200" baseline="0" dirty="0">
                <a:solidFill>
                  <a:schemeClr val="accent2"/>
                </a:solidFill>
                <a:latin typeface="+mj-lt"/>
                <a:ea typeface="Open Sans" panose="020B0606030504020204" pitchFamily="34" charset="0"/>
                <a:cs typeface="Poppins" pitchFamily="2" charset="77"/>
              </a:defRPr>
            </a:lvl1pPr>
          </a:lstStyle>
          <a:p>
            <a:pPr marL="0" lvl="0"/>
            <a:r>
              <a:rPr lang="en-US" dirty="0"/>
              <a:t>subtitle</a:t>
            </a:r>
          </a:p>
        </p:txBody>
      </p:sp>
      <p:sp>
        <p:nvSpPr>
          <p:cNvPr id="19" name="Text Placeholder 18">
            <a:extLst>
              <a:ext uri="{FF2B5EF4-FFF2-40B4-BE49-F238E27FC236}">
                <a16:creationId xmlns:a16="http://schemas.microsoft.com/office/drawing/2014/main" id="{387E60F8-4261-47AD-8B45-F0662BEC253C}"/>
              </a:ext>
            </a:extLst>
          </p:cNvPr>
          <p:cNvSpPr>
            <a:spLocks noGrp="1"/>
          </p:cNvSpPr>
          <p:nvPr>
            <p:ph type="body" sz="quarter" idx="14" hasCustomPrompt="1"/>
          </p:nvPr>
        </p:nvSpPr>
        <p:spPr>
          <a:xfrm>
            <a:off x="192088" y="1149663"/>
            <a:ext cx="300038" cy="10800"/>
          </a:xfrm>
          <a:solidFill>
            <a:schemeClr val="accent2"/>
          </a:solidFill>
        </p:spPr>
        <p:txBody>
          <a:bodyPr/>
          <a:lstStyle>
            <a:lvl1pPr marL="0" indent="0">
              <a:buNone/>
              <a:defRPr/>
            </a:lvl1pPr>
          </a:lstStyle>
          <a:p>
            <a:pPr lvl="0"/>
            <a:r>
              <a:rPr lang="en-US" dirty="0"/>
              <a:t> </a:t>
            </a:r>
          </a:p>
        </p:txBody>
      </p:sp>
      <p:sp>
        <p:nvSpPr>
          <p:cNvPr id="22" name="Footer Placeholder 21">
            <a:extLst>
              <a:ext uri="{FF2B5EF4-FFF2-40B4-BE49-F238E27FC236}">
                <a16:creationId xmlns:a16="http://schemas.microsoft.com/office/drawing/2014/main" id="{6C07AD27-D55E-4EDF-81D2-8A093B828D87}"/>
              </a:ext>
            </a:extLst>
          </p:cNvPr>
          <p:cNvSpPr>
            <a:spLocks noGrp="1"/>
          </p:cNvSpPr>
          <p:nvPr>
            <p:ph type="ftr" sz="quarter" idx="16"/>
          </p:nvPr>
        </p:nvSpPr>
        <p:spPr/>
        <p:txBody>
          <a:bodyPr/>
          <a:lstStyle/>
          <a:p>
            <a:endParaRPr lang="en-US" dirty="0"/>
          </a:p>
        </p:txBody>
      </p:sp>
      <p:sp>
        <p:nvSpPr>
          <p:cNvPr id="23" name="Slide Number Placeholder 22">
            <a:extLst>
              <a:ext uri="{FF2B5EF4-FFF2-40B4-BE49-F238E27FC236}">
                <a16:creationId xmlns:a16="http://schemas.microsoft.com/office/drawing/2014/main" id="{3848D985-51C8-45E1-935E-F44F20104B00}"/>
              </a:ext>
            </a:extLst>
          </p:cNvPr>
          <p:cNvSpPr>
            <a:spLocks noGrp="1"/>
          </p:cNvSpPr>
          <p:nvPr>
            <p:ph type="sldNum" sz="quarter" idx="17"/>
          </p:nvPr>
        </p:nvSpPr>
        <p:spPr/>
        <p:txBody>
          <a:bodyPr/>
          <a:lstStyle/>
          <a:p>
            <a:fld id="{9F427BA5-3988-40EC-8E11-9F7B5510E66B}" type="slidenum">
              <a:rPr lang="en-GB" smtClean="0"/>
              <a:pPr/>
              <a:t>‹#›</a:t>
            </a:fld>
            <a:endParaRPr lang="en-GB"/>
          </a:p>
        </p:txBody>
      </p:sp>
    </p:spTree>
    <p:extLst>
      <p:ext uri="{BB962C8B-B14F-4D97-AF65-F5344CB8AC3E}">
        <p14:creationId xmlns:p14="http://schemas.microsoft.com/office/powerpoint/2010/main" val="647626623"/>
      </p:ext>
    </p:extLst>
  </p:cSld>
  <p:clrMapOvr>
    <a:masterClrMapping/>
  </p:clrMapOvr>
  <p:extLst>
    <p:ext uri="{DCECCB84-F9BA-43D5-87BE-67443E8EF086}">
      <p15:sldGuideLst xmlns:p15="http://schemas.microsoft.com/office/powerpoint/2012/main">
        <p15:guide id="1" orient="horz" pos="102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C60B2D9-00F6-4BF9-822E-471D1F4ADAF1}"/>
              </a:ext>
            </a:extLst>
          </p:cNvPr>
          <p:cNvGraphicFramePr>
            <a:graphicFrameLocks noChangeAspect="1"/>
          </p:cNvGraphicFramePr>
          <p:nvPr userDrawn="1">
            <p:custDataLst>
              <p:tags r:id="rId1"/>
            </p:custDataLst>
            <p:extLst>
              <p:ext uri="{D42A27DB-BD31-4B8C-83A1-F6EECF244321}">
                <p14:modId xmlns:p14="http://schemas.microsoft.com/office/powerpoint/2010/main" val="103310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16" name="Object 15" hidden="1">
                        <a:extLst>
                          <a:ext uri="{FF2B5EF4-FFF2-40B4-BE49-F238E27FC236}">
                            <a16:creationId xmlns:a16="http://schemas.microsoft.com/office/drawing/2014/main" id="{FC60B2D9-00F6-4BF9-822E-471D1F4ADA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CB484D4-7BC8-4CA4-AE2B-E5A36484CB82}"/>
              </a:ext>
            </a:extLst>
          </p:cNvPr>
          <p:cNvSpPr>
            <a:spLocks noGrp="1"/>
          </p:cNvSpPr>
          <p:nvPr>
            <p:ph type="title" hasCustomPrompt="1"/>
          </p:nvPr>
        </p:nvSpPr>
        <p:spPr>
          <a:xfrm>
            <a:off x="192087" y="287370"/>
            <a:ext cx="11807823" cy="830997"/>
          </a:xfrm>
          <a:noFill/>
        </p:spPr>
        <p:txBody>
          <a:bodyPr vert="horz" wrap="square" lIns="0" tIns="0" bIns="0" rtlCol="0" anchor="b">
            <a:noAutofit/>
          </a:bodyPr>
          <a:lstStyle>
            <a:lvl1pPr>
              <a:defRPr lang="en-US" sz="2800" dirty="0">
                <a:ea typeface="Open Sans" panose="020B0606030504020204" pitchFamily="34" charset="0"/>
              </a:defRPr>
            </a:lvl1pPr>
          </a:lstStyle>
          <a:p>
            <a:pPr lvl="0"/>
            <a:r>
              <a:rPr lang="en-US" dirty="0"/>
              <a:t>Click to edit Master title style</a:t>
            </a:r>
          </a:p>
        </p:txBody>
      </p:sp>
      <p:sp>
        <p:nvSpPr>
          <p:cNvPr id="14" name="Text Placeholder 13">
            <a:extLst>
              <a:ext uri="{FF2B5EF4-FFF2-40B4-BE49-F238E27FC236}">
                <a16:creationId xmlns:a16="http://schemas.microsoft.com/office/drawing/2014/main" id="{248559AE-AE89-418A-8429-5207657E578A}"/>
              </a:ext>
            </a:extLst>
          </p:cNvPr>
          <p:cNvSpPr>
            <a:spLocks noGrp="1"/>
          </p:cNvSpPr>
          <p:nvPr>
            <p:ph type="body" sz="quarter" idx="13" hasCustomPrompt="1"/>
          </p:nvPr>
        </p:nvSpPr>
        <p:spPr>
          <a:xfrm>
            <a:off x="192088" y="1248845"/>
            <a:ext cx="11807822" cy="261610"/>
          </a:xfrm>
          <a:noFill/>
        </p:spPr>
        <p:txBody>
          <a:bodyPr wrap="square" lIns="0" tIns="46800" rIns="90000" bIns="46800" rtlCol="0">
            <a:noAutofit/>
          </a:bodyPr>
          <a:lstStyle>
            <a:lvl1pPr marL="0" indent="0">
              <a:buNone/>
              <a:defRPr lang="en-US" sz="1100" b="0" cap="all" spc="200" baseline="0" dirty="0">
                <a:solidFill>
                  <a:schemeClr val="accent2"/>
                </a:solidFill>
                <a:latin typeface="+mj-lt"/>
                <a:ea typeface="Open Sans" panose="020B0606030504020204" pitchFamily="34" charset="0"/>
                <a:cs typeface="Poppins" pitchFamily="2" charset="77"/>
              </a:defRPr>
            </a:lvl1pPr>
          </a:lstStyle>
          <a:p>
            <a:pPr marL="0" lvl="0"/>
            <a:r>
              <a:rPr lang="en-US" dirty="0"/>
              <a:t>subtitle</a:t>
            </a:r>
          </a:p>
        </p:txBody>
      </p:sp>
      <p:sp>
        <p:nvSpPr>
          <p:cNvPr id="19" name="Text Placeholder 18">
            <a:extLst>
              <a:ext uri="{FF2B5EF4-FFF2-40B4-BE49-F238E27FC236}">
                <a16:creationId xmlns:a16="http://schemas.microsoft.com/office/drawing/2014/main" id="{387E60F8-4261-47AD-8B45-F0662BEC253C}"/>
              </a:ext>
            </a:extLst>
          </p:cNvPr>
          <p:cNvSpPr>
            <a:spLocks noGrp="1"/>
          </p:cNvSpPr>
          <p:nvPr>
            <p:ph type="body" sz="quarter" idx="14" hasCustomPrompt="1"/>
          </p:nvPr>
        </p:nvSpPr>
        <p:spPr>
          <a:xfrm>
            <a:off x="192088" y="1149663"/>
            <a:ext cx="300038" cy="10800"/>
          </a:xfrm>
          <a:solidFill>
            <a:schemeClr val="accent2"/>
          </a:solidFill>
        </p:spPr>
        <p:txBody>
          <a:bodyPr/>
          <a:lstStyle>
            <a:lvl1pPr marL="0" indent="0">
              <a:buNone/>
              <a:defRPr/>
            </a:lvl1pPr>
          </a:lstStyle>
          <a:p>
            <a:pPr lvl="0"/>
            <a:r>
              <a:rPr lang="en-US" dirty="0"/>
              <a:t> </a:t>
            </a:r>
          </a:p>
        </p:txBody>
      </p:sp>
      <p:sp>
        <p:nvSpPr>
          <p:cNvPr id="22" name="Footer Placeholder 21">
            <a:extLst>
              <a:ext uri="{FF2B5EF4-FFF2-40B4-BE49-F238E27FC236}">
                <a16:creationId xmlns:a16="http://schemas.microsoft.com/office/drawing/2014/main" id="{6C07AD27-D55E-4EDF-81D2-8A093B828D87}"/>
              </a:ext>
            </a:extLst>
          </p:cNvPr>
          <p:cNvSpPr>
            <a:spLocks noGrp="1"/>
          </p:cNvSpPr>
          <p:nvPr>
            <p:ph type="ftr" sz="quarter" idx="16"/>
          </p:nvPr>
        </p:nvSpPr>
        <p:spPr/>
        <p:txBody>
          <a:bodyPr/>
          <a:lstStyle/>
          <a:p>
            <a:endParaRPr lang="en-US" dirty="0"/>
          </a:p>
        </p:txBody>
      </p:sp>
      <p:sp>
        <p:nvSpPr>
          <p:cNvPr id="23" name="Slide Number Placeholder 22">
            <a:extLst>
              <a:ext uri="{FF2B5EF4-FFF2-40B4-BE49-F238E27FC236}">
                <a16:creationId xmlns:a16="http://schemas.microsoft.com/office/drawing/2014/main" id="{3848D985-51C8-45E1-935E-F44F20104B00}"/>
              </a:ext>
            </a:extLst>
          </p:cNvPr>
          <p:cNvSpPr>
            <a:spLocks noGrp="1"/>
          </p:cNvSpPr>
          <p:nvPr>
            <p:ph type="sldNum" sz="quarter" idx="17"/>
          </p:nvPr>
        </p:nvSpPr>
        <p:spPr/>
        <p:txBody>
          <a:bodyPr/>
          <a:lstStyle/>
          <a:p>
            <a:fld id="{9F427BA5-3988-40EC-8E11-9F7B5510E66B}" type="slidenum">
              <a:rPr lang="en-GB" smtClean="0"/>
              <a:pPr/>
              <a:t>‹#›</a:t>
            </a:fld>
            <a:endParaRPr lang="en-GB"/>
          </a:p>
        </p:txBody>
      </p:sp>
      <p:sp>
        <p:nvSpPr>
          <p:cNvPr id="10" name="Text Placeholder 18">
            <a:extLst>
              <a:ext uri="{FF2B5EF4-FFF2-40B4-BE49-F238E27FC236}">
                <a16:creationId xmlns:a16="http://schemas.microsoft.com/office/drawing/2014/main" id="{7F47BF8C-FECD-6742-BBD8-16752D3C22EB}"/>
              </a:ext>
            </a:extLst>
          </p:cNvPr>
          <p:cNvSpPr>
            <a:spLocks noGrp="1"/>
          </p:cNvSpPr>
          <p:nvPr>
            <p:ph type="body" sz="quarter" idx="18" hasCustomPrompt="1"/>
          </p:nvPr>
        </p:nvSpPr>
        <p:spPr>
          <a:xfrm>
            <a:off x="192087" y="1628775"/>
            <a:ext cx="11807822" cy="4608513"/>
          </a:xfrm>
          <a:solidFill>
            <a:schemeClr val="bg1"/>
          </a:solidFill>
          <a:effectLst>
            <a:outerShdw blurRad="495300" dist="304800" dir="5400000" algn="ctr" rotWithShape="0">
              <a:schemeClr val="tx1">
                <a:alpha val="11000"/>
              </a:schemeClr>
            </a:outerShdw>
          </a:effectLst>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851254418"/>
      </p:ext>
    </p:extLst>
  </p:cSld>
  <p:clrMapOvr>
    <a:masterClrMapping/>
  </p:clrMapOvr>
  <p:extLst>
    <p:ext uri="{DCECCB84-F9BA-43D5-87BE-67443E8EF086}">
      <p15:sldGuideLst xmlns:p15="http://schemas.microsoft.com/office/powerpoint/2012/main">
        <p15:guide id="1" orient="horz" pos="102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C60B2D9-00F6-4BF9-822E-471D1F4ADAF1}"/>
              </a:ext>
            </a:extLst>
          </p:cNvPr>
          <p:cNvGraphicFramePr>
            <a:graphicFrameLocks noChangeAspect="1"/>
          </p:cNvGraphicFramePr>
          <p:nvPr userDrawn="1">
            <p:custDataLst>
              <p:tags r:id="rId1"/>
            </p:custDataLst>
            <p:extLst>
              <p:ext uri="{D42A27DB-BD31-4B8C-83A1-F6EECF244321}">
                <p14:modId xmlns:p14="http://schemas.microsoft.com/office/powerpoint/2010/main" val="152430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16" name="Object 15" hidden="1">
                        <a:extLst>
                          <a:ext uri="{FF2B5EF4-FFF2-40B4-BE49-F238E27FC236}">
                            <a16:creationId xmlns:a16="http://schemas.microsoft.com/office/drawing/2014/main" id="{FC60B2D9-00F6-4BF9-822E-471D1F4ADA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Footer Placeholder 21">
            <a:extLst>
              <a:ext uri="{FF2B5EF4-FFF2-40B4-BE49-F238E27FC236}">
                <a16:creationId xmlns:a16="http://schemas.microsoft.com/office/drawing/2014/main" id="{6C07AD27-D55E-4EDF-81D2-8A093B828D87}"/>
              </a:ext>
            </a:extLst>
          </p:cNvPr>
          <p:cNvSpPr>
            <a:spLocks noGrp="1"/>
          </p:cNvSpPr>
          <p:nvPr>
            <p:ph type="ftr" sz="quarter" idx="16"/>
          </p:nvPr>
        </p:nvSpPr>
        <p:spPr/>
        <p:txBody>
          <a:bodyPr/>
          <a:lstStyle/>
          <a:p>
            <a:endParaRPr lang="en-US" dirty="0"/>
          </a:p>
        </p:txBody>
      </p:sp>
      <p:sp>
        <p:nvSpPr>
          <p:cNvPr id="23" name="Slide Number Placeholder 22">
            <a:extLst>
              <a:ext uri="{FF2B5EF4-FFF2-40B4-BE49-F238E27FC236}">
                <a16:creationId xmlns:a16="http://schemas.microsoft.com/office/drawing/2014/main" id="{3848D985-51C8-45E1-935E-F44F20104B00}"/>
              </a:ext>
            </a:extLst>
          </p:cNvPr>
          <p:cNvSpPr>
            <a:spLocks noGrp="1"/>
          </p:cNvSpPr>
          <p:nvPr>
            <p:ph type="sldNum" sz="quarter" idx="17"/>
          </p:nvPr>
        </p:nvSpPr>
        <p:spPr/>
        <p:txBody>
          <a:bodyPr/>
          <a:lstStyle/>
          <a:p>
            <a:fld id="{9F427BA5-3988-40EC-8E11-9F7B5510E66B}" type="slidenum">
              <a:rPr lang="en-GB" smtClean="0"/>
              <a:pPr/>
              <a:t>‹#›</a:t>
            </a:fld>
            <a:endParaRPr lang="en-GB"/>
          </a:p>
        </p:txBody>
      </p:sp>
    </p:spTree>
    <p:extLst>
      <p:ext uri="{BB962C8B-B14F-4D97-AF65-F5344CB8AC3E}">
        <p14:creationId xmlns:p14="http://schemas.microsoft.com/office/powerpoint/2010/main" val="3682670461"/>
      </p:ext>
    </p:extLst>
  </p:cSld>
  <p:clrMapOvr>
    <a:masterClrMapping/>
  </p:clrMapOvr>
  <p:extLst>
    <p:ext uri="{DCECCB84-F9BA-43D5-87BE-67443E8EF086}">
      <p15:sldGuideLst xmlns:p15="http://schemas.microsoft.com/office/powerpoint/2012/main">
        <p15:guide id="1" orient="horz" pos="102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3_Blank">
    <p:bg>
      <p:bgPr>
        <a:solidFill>
          <a:schemeClr val="bg2">
            <a:lumMod val="90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3E9E9B4-ECE5-494E-BCF3-A74F2A66A3AA}"/>
              </a:ext>
            </a:extLst>
          </p:cNvPr>
          <p:cNvGraphicFramePr>
            <a:graphicFrameLocks noChangeAspect="1"/>
          </p:cNvGraphicFramePr>
          <p:nvPr userDrawn="1">
            <p:custDataLst>
              <p:tags r:id="rId1"/>
            </p:custDataLst>
            <p:extLst>
              <p:ext uri="{D42A27DB-BD31-4B8C-83A1-F6EECF244321}">
                <p14:modId xmlns:p14="http://schemas.microsoft.com/office/powerpoint/2010/main" val="197902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Object 1" hidden="1">
                        <a:extLst>
                          <a:ext uri="{FF2B5EF4-FFF2-40B4-BE49-F238E27FC236}">
                            <a16:creationId xmlns:a16="http://schemas.microsoft.com/office/drawing/2014/main" id="{B3E9E9B4-ECE5-494E-BCF3-A74F2A66A3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2" descr="A picture containing water, outdoor, sky, boat&#10;&#10;Description automatically generated">
            <a:extLst>
              <a:ext uri="{FF2B5EF4-FFF2-40B4-BE49-F238E27FC236}">
                <a16:creationId xmlns:a16="http://schemas.microsoft.com/office/drawing/2014/main" id="{B190105A-DBE4-EE4E-BBCE-FA53EA66B1A8}"/>
              </a:ext>
            </a:extLst>
          </p:cNvPr>
          <p:cNvPicPr>
            <a:picLocks noChangeAspect="1"/>
          </p:cNvPicPr>
          <p:nvPr userDrawn="1"/>
        </p:nvPicPr>
        <p:blipFill rotWithShape="1">
          <a:blip r:embed="rId5">
            <a:extLst>
              <a:ext uri="{28A0092B-C50C-407E-A947-70E740481C1C}">
                <a14:useLocalDpi xmlns:a14="http://schemas.microsoft.com/office/drawing/2010/main"/>
              </a:ext>
            </a:extLst>
          </a:blip>
          <a:srcRect t="15633"/>
          <a:stretch/>
        </p:blipFill>
        <p:spPr>
          <a:xfrm>
            <a:off x="0" y="0"/>
            <a:ext cx="12193200" cy="6858000"/>
          </a:xfrm>
          <a:prstGeom prst="rect">
            <a:avLst/>
          </a:prstGeom>
        </p:spPr>
      </p:pic>
      <p:sp>
        <p:nvSpPr>
          <p:cNvPr id="7" name="Rectángulo 9">
            <a:extLst>
              <a:ext uri="{FF2B5EF4-FFF2-40B4-BE49-F238E27FC236}">
                <a16:creationId xmlns:a16="http://schemas.microsoft.com/office/drawing/2014/main" id="{6EC6BB42-B07A-6543-97F5-FEB1BD98746B}"/>
              </a:ext>
            </a:extLst>
          </p:cNvPr>
          <p:cNvSpPr/>
          <p:nvPr userDrawn="1"/>
        </p:nvSpPr>
        <p:spPr>
          <a:xfrm rot="16200000">
            <a:off x="2674541" y="-2674542"/>
            <a:ext cx="6858001" cy="12207079"/>
          </a:xfrm>
          <a:prstGeom prst="rect">
            <a:avLst/>
          </a:prstGeom>
          <a:gradFill>
            <a:gsLst>
              <a:gs pos="57838">
                <a:srgbClr val="183D7D">
                  <a:alpha val="50000"/>
                </a:srgbClr>
              </a:gs>
              <a:gs pos="21000">
                <a:srgbClr val="0C4FBB">
                  <a:alpha val="40000"/>
                </a:srgbClr>
              </a:gs>
              <a:gs pos="0">
                <a:schemeClr val="accent3"/>
              </a:gs>
              <a:gs pos="98000">
                <a:schemeClr val="tx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arcador de texto 9">
            <a:extLst>
              <a:ext uri="{FF2B5EF4-FFF2-40B4-BE49-F238E27FC236}">
                <a16:creationId xmlns:a16="http://schemas.microsoft.com/office/drawing/2014/main" id="{ED376423-01A2-9340-82AE-29577C2E02B9}"/>
              </a:ext>
            </a:extLst>
          </p:cNvPr>
          <p:cNvSpPr txBox="1">
            <a:spLocks/>
          </p:cNvSpPr>
          <p:nvPr userDrawn="1"/>
        </p:nvSpPr>
        <p:spPr>
          <a:xfrm>
            <a:off x="3444645" y="2468880"/>
            <a:ext cx="5302710" cy="2122485"/>
          </a:xfrm>
          <a:prstGeom prst="rect">
            <a:avLst/>
          </a:prstGeom>
          <a:noFill/>
        </p:spPr>
        <p:txBody>
          <a:bodyPr wrap="square" lIns="0" tIns="0" rIns="0" bIns="45720" rtlCol="0">
            <a:noAutofit/>
          </a:bodyPr>
          <a:lstStyle>
            <a:lvl1pPr marL="0" indent="0" algn="l" defTabSz="914400" rtl="0" eaLnBrk="1" latinLnBrk="0" hangingPunct="1">
              <a:lnSpc>
                <a:spcPct val="100000"/>
              </a:lnSpc>
              <a:spcBef>
                <a:spcPts val="0"/>
              </a:spcBef>
              <a:spcAft>
                <a:spcPts val="0"/>
              </a:spcAft>
              <a:buClr>
                <a:schemeClr val="accent1"/>
              </a:buClr>
              <a:buFont typeface="Arial" panose="020B0604020202020204" pitchFamily="34" charset="0"/>
              <a:buNone/>
              <a:defRPr lang="en-US" sz="3200" b="1" i="0" kern="1200" spc="0" dirty="0">
                <a:solidFill>
                  <a:schemeClr val="accent2"/>
                </a:solidFill>
                <a:latin typeface="+mj-lt"/>
                <a:ea typeface="Open Sans" panose="020B0606030504020204" pitchFamily="34" charset="0"/>
                <a:cs typeface="Poppins" pitchFamily="2" charset="77"/>
              </a:defRPr>
            </a:lvl1pPr>
            <a:lvl2pPr marL="6858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2pPr>
            <a:lvl3pPr marL="11430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3pPr>
            <a:lvl4pPr marL="16002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4pPr>
            <a:lvl5pPr marL="20574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sz="7200" dirty="0">
                <a:solidFill>
                  <a:schemeClr val="bg1"/>
                </a:solidFill>
              </a:rPr>
              <a:t>Gracias</a:t>
            </a:r>
          </a:p>
          <a:p>
            <a:pPr algn="ctr"/>
            <a:endParaRPr lang="es-ES" sz="6600" dirty="0">
              <a:solidFill>
                <a:schemeClr val="bg1"/>
              </a:solidFill>
            </a:endParaRPr>
          </a:p>
        </p:txBody>
      </p:sp>
      <p:pic>
        <p:nvPicPr>
          <p:cNvPr id="10" name="Picture 7">
            <a:extLst>
              <a:ext uri="{FF2B5EF4-FFF2-40B4-BE49-F238E27FC236}">
                <a16:creationId xmlns:a16="http://schemas.microsoft.com/office/drawing/2014/main" id="{5FB46AF1-3A5A-394A-9270-903268BD366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29866" y="4882943"/>
            <a:ext cx="4132268" cy="1574885"/>
          </a:xfrm>
          <a:prstGeom prst="rect">
            <a:avLst/>
          </a:prstGeom>
        </p:spPr>
      </p:pic>
      <p:cxnSp>
        <p:nvCxnSpPr>
          <p:cNvPr id="11" name="Conector recto 34">
            <a:extLst>
              <a:ext uri="{FF2B5EF4-FFF2-40B4-BE49-F238E27FC236}">
                <a16:creationId xmlns:a16="http://schemas.microsoft.com/office/drawing/2014/main" id="{F80F0951-2EBF-924C-8A2F-5EE125284EDD}"/>
              </a:ext>
            </a:extLst>
          </p:cNvPr>
          <p:cNvCxnSpPr>
            <a:cxnSpLocks/>
          </p:cNvCxnSpPr>
          <p:nvPr userDrawn="1"/>
        </p:nvCxnSpPr>
        <p:spPr>
          <a:xfrm>
            <a:off x="5458412" y="3834693"/>
            <a:ext cx="12751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5606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4_Blank">
    <p:bg>
      <p:bgPr>
        <a:solidFill>
          <a:schemeClr val="bg2">
            <a:lumMod val="90000"/>
          </a:schemeClr>
        </a:solidFill>
        <a:effectLst/>
      </p:bgPr>
    </p:bg>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E04E9114-8010-C448-B5A8-BC86AB720E4D}"/>
              </a:ext>
            </a:extLst>
          </p:cNvPr>
          <p:cNvPicPr>
            <a:picLocks noChangeAspect="1"/>
          </p:cNvPicPr>
          <p:nvPr userDrawn="1"/>
        </p:nvPicPr>
        <p:blipFill rotWithShape="1">
          <a:blip r:embed="rId3" cstate="screen">
            <a:alphaModFix amt="49000"/>
            <a:extLst>
              <a:ext uri="{28A0092B-C50C-407E-A947-70E740481C1C}">
                <a14:useLocalDpi xmlns:a14="http://schemas.microsoft.com/office/drawing/2010/main"/>
              </a:ext>
            </a:extLst>
          </a:blip>
          <a:srcRect l="2636" r="23515" b="9325"/>
          <a:stretch/>
        </p:blipFill>
        <p:spPr>
          <a:xfrm>
            <a:off x="-1" y="0"/>
            <a:ext cx="12192001" cy="6858000"/>
          </a:xfrm>
          <a:prstGeom prst="rect">
            <a:avLst/>
          </a:prstGeom>
        </p:spPr>
      </p:pic>
      <p:graphicFrame>
        <p:nvGraphicFramePr>
          <p:cNvPr id="2" name="Object 1" hidden="1">
            <a:extLst>
              <a:ext uri="{FF2B5EF4-FFF2-40B4-BE49-F238E27FC236}">
                <a16:creationId xmlns:a16="http://schemas.microsoft.com/office/drawing/2014/main" id="{B3E9E9B4-ECE5-494E-BCF3-A74F2A66A3AA}"/>
              </a:ext>
            </a:extLst>
          </p:cNvPr>
          <p:cNvGraphicFramePr>
            <a:graphicFrameLocks noChangeAspect="1"/>
          </p:cNvGraphicFramePr>
          <p:nvPr userDrawn="1">
            <p:custDataLst>
              <p:tags r:id="rId1"/>
            </p:custDataLst>
            <p:extLst>
              <p:ext uri="{D42A27DB-BD31-4B8C-83A1-F6EECF244321}">
                <p14:modId xmlns:p14="http://schemas.microsoft.com/office/powerpoint/2010/main" val="197902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2" name="Object 1" hidden="1">
                        <a:extLst>
                          <a:ext uri="{FF2B5EF4-FFF2-40B4-BE49-F238E27FC236}">
                            <a16:creationId xmlns:a16="http://schemas.microsoft.com/office/drawing/2014/main" id="{B3E9E9B4-ECE5-494E-BCF3-A74F2A66A3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9">
            <a:extLst>
              <a:ext uri="{FF2B5EF4-FFF2-40B4-BE49-F238E27FC236}">
                <a16:creationId xmlns:a16="http://schemas.microsoft.com/office/drawing/2014/main" id="{6EC6BB42-B07A-6543-97F5-FEB1BD98746B}"/>
              </a:ext>
            </a:extLst>
          </p:cNvPr>
          <p:cNvSpPr/>
          <p:nvPr userDrawn="1"/>
        </p:nvSpPr>
        <p:spPr>
          <a:xfrm rot="16200000">
            <a:off x="2674545" y="-2674542"/>
            <a:ext cx="6857996" cy="12207079"/>
          </a:xfrm>
          <a:prstGeom prst="rect">
            <a:avLst/>
          </a:prstGeom>
          <a:gradFill>
            <a:gsLst>
              <a:gs pos="57838">
                <a:srgbClr val="183D7D">
                  <a:alpha val="47458"/>
                  <a:lumMod val="13000"/>
                  <a:lumOff val="87000"/>
                </a:srgbClr>
              </a:gs>
              <a:gs pos="12000">
                <a:srgbClr val="0C4FBB">
                  <a:alpha val="40000"/>
                </a:srgbClr>
              </a:gs>
              <a:gs pos="0">
                <a:schemeClr val="accent3"/>
              </a:gs>
              <a:gs pos="98000">
                <a:schemeClr val="tx2">
                  <a:alpha val="54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Marcador de texto 9">
            <a:extLst>
              <a:ext uri="{FF2B5EF4-FFF2-40B4-BE49-F238E27FC236}">
                <a16:creationId xmlns:a16="http://schemas.microsoft.com/office/drawing/2014/main" id="{ED376423-01A2-9340-82AE-29577C2E02B9}"/>
              </a:ext>
            </a:extLst>
          </p:cNvPr>
          <p:cNvSpPr txBox="1">
            <a:spLocks/>
          </p:cNvSpPr>
          <p:nvPr userDrawn="1"/>
        </p:nvSpPr>
        <p:spPr>
          <a:xfrm>
            <a:off x="3444645" y="2468880"/>
            <a:ext cx="5302710" cy="2122485"/>
          </a:xfrm>
          <a:prstGeom prst="rect">
            <a:avLst/>
          </a:prstGeom>
          <a:noFill/>
        </p:spPr>
        <p:txBody>
          <a:bodyPr wrap="square" lIns="0" tIns="0" rIns="0" bIns="45720" rtlCol="0">
            <a:noAutofit/>
          </a:bodyPr>
          <a:lstStyle>
            <a:lvl1pPr marL="0" indent="0" algn="l" defTabSz="914400" rtl="0" eaLnBrk="1" latinLnBrk="0" hangingPunct="1">
              <a:lnSpc>
                <a:spcPct val="100000"/>
              </a:lnSpc>
              <a:spcBef>
                <a:spcPts val="0"/>
              </a:spcBef>
              <a:spcAft>
                <a:spcPts val="0"/>
              </a:spcAft>
              <a:buClr>
                <a:schemeClr val="accent1"/>
              </a:buClr>
              <a:buFont typeface="Arial" panose="020B0604020202020204" pitchFamily="34" charset="0"/>
              <a:buNone/>
              <a:defRPr lang="en-US" sz="3200" b="1" i="0" kern="1200" spc="0" dirty="0">
                <a:solidFill>
                  <a:schemeClr val="accent2"/>
                </a:solidFill>
                <a:latin typeface="+mj-lt"/>
                <a:ea typeface="Open Sans" panose="020B0606030504020204" pitchFamily="34" charset="0"/>
                <a:cs typeface="Poppins" pitchFamily="2" charset="77"/>
              </a:defRPr>
            </a:lvl1pPr>
            <a:lvl2pPr marL="6858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2pPr>
            <a:lvl3pPr marL="11430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3pPr>
            <a:lvl4pPr marL="16002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4pPr>
            <a:lvl5pPr marL="20574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sz="7200" dirty="0">
                <a:solidFill>
                  <a:schemeClr val="tx2"/>
                </a:solidFill>
              </a:rPr>
              <a:t>Gracias</a:t>
            </a:r>
          </a:p>
          <a:p>
            <a:pPr algn="ctr"/>
            <a:endParaRPr lang="es-ES" sz="6600" dirty="0">
              <a:solidFill>
                <a:schemeClr val="tx2"/>
              </a:solidFill>
            </a:endParaRPr>
          </a:p>
        </p:txBody>
      </p:sp>
      <p:grpSp>
        <p:nvGrpSpPr>
          <p:cNvPr id="12" name="Gráfico 29">
            <a:extLst>
              <a:ext uri="{FF2B5EF4-FFF2-40B4-BE49-F238E27FC236}">
                <a16:creationId xmlns:a16="http://schemas.microsoft.com/office/drawing/2014/main" id="{9CE2C696-8AC1-1C4D-9B23-ED821D245E76}"/>
              </a:ext>
            </a:extLst>
          </p:cNvPr>
          <p:cNvGrpSpPr/>
          <p:nvPr userDrawn="1"/>
        </p:nvGrpSpPr>
        <p:grpSpPr>
          <a:xfrm>
            <a:off x="4490851" y="5311589"/>
            <a:ext cx="3194499" cy="694660"/>
            <a:chOff x="575921" y="2690945"/>
            <a:chExt cx="4055521" cy="881893"/>
          </a:xfrm>
        </p:grpSpPr>
        <p:sp>
          <p:nvSpPr>
            <p:cNvPr id="13" name="Forma libre 7">
              <a:extLst>
                <a:ext uri="{FF2B5EF4-FFF2-40B4-BE49-F238E27FC236}">
                  <a16:creationId xmlns:a16="http://schemas.microsoft.com/office/drawing/2014/main" id="{0A51E0BA-C855-2549-8A74-9190E626E82D}"/>
                </a:ext>
              </a:extLst>
            </p:cNvPr>
            <p:cNvSpPr/>
            <p:nvPr/>
          </p:nvSpPr>
          <p:spPr>
            <a:xfrm>
              <a:off x="575921" y="2690945"/>
              <a:ext cx="745113" cy="878286"/>
            </a:xfrm>
            <a:custGeom>
              <a:avLst/>
              <a:gdLst>
                <a:gd name="connsiteX0" fmla="*/ 0 w 745113"/>
                <a:gd name="connsiteY0" fmla="*/ 793524 h 878286"/>
                <a:gd name="connsiteX1" fmla="*/ 426038 w 745113"/>
                <a:gd name="connsiteY1" fmla="*/ 0 h 878286"/>
                <a:gd name="connsiteX2" fmla="*/ 745114 w 745113"/>
                <a:gd name="connsiteY2" fmla="*/ 600554 h 878286"/>
                <a:gd name="connsiteX3" fmla="*/ 598266 w 745113"/>
                <a:gd name="connsiteY3" fmla="*/ 551860 h 878286"/>
                <a:gd name="connsiteX4" fmla="*/ 426038 w 745113"/>
                <a:gd name="connsiteY4" fmla="*/ 229040 h 878286"/>
                <a:gd name="connsiteX5" fmla="*/ 76143 w 745113"/>
                <a:gd name="connsiteY5" fmla="*/ 878287 h 87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5113" h="878286">
                  <a:moveTo>
                    <a:pt x="0" y="793524"/>
                  </a:moveTo>
                  <a:lnTo>
                    <a:pt x="426038" y="0"/>
                  </a:lnTo>
                  <a:lnTo>
                    <a:pt x="745114" y="600554"/>
                  </a:lnTo>
                  <a:lnTo>
                    <a:pt x="598266" y="551860"/>
                  </a:lnTo>
                  <a:lnTo>
                    <a:pt x="426038" y="229040"/>
                  </a:lnTo>
                  <a:lnTo>
                    <a:pt x="76143" y="878287"/>
                  </a:lnTo>
                  <a:close/>
                </a:path>
              </a:pathLst>
            </a:custGeom>
            <a:solidFill>
              <a:srgbClr val="2982A3"/>
            </a:solidFill>
            <a:ln w="18105" cap="flat">
              <a:noFill/>
              <a:prstDash val="solid"/>
              <a:miter/>
            </a:ln>
          </p:spPr>
          <p:txBody>
            <a:bodyPr rtlCol="0" anchor="ctr"/>
            <a:lstStyle/>
            <a:p>
              <a:endParaRPr lang="en-US"/>
            </a:p>
          </p:txBody>
        </p:sp>
        <p:sp>
          <p:nvSpPr>
            <p:cNvPr id="14" name="Forma libre 9">
              <a:extLst>
                <a:ext uri="{FF2B5EF4-FFF2-40B4-BE49-F238E27FC236}">
                  <a16:creationId xmlns:a16="http://schemas.microsoft.com/office/drawing/2014/main" id="{C47A4721-1D62-C549-98FB-DA0E0DC61EBB}"/>
                </a:ext>
              </a:extLst>
            </p:cNvPr>
            <p:cNvSpPr/>
            <p:nvPr/>
          </p:nvSpPr>
          <p:spPr>
            <a:xfrm>
              <a:off x="875054" y="2690945"/>
              <a:ext cx="672596" cy="793524"/>
            </a:xfrm>
            <a:custGeom>
              <a:avLst/>
              <a:gdLst>
                <a:gd name="connsiteX0" fmla="*/ 184919 w 672596"/>
                <a:gd name="connsiteY0" fmla="*/ 512184 h 793524"/>
                <a:gd name="connsiteX1" fmla="*/ 445980 w 672596"/>
                <a:gd name="connsiteY1" fmla="*/ 600554 h 793524"/>
                <a:gd name="connsiteX2" fmla="*/ 126905 w 672596"/>
                <a:gd name="connsiteY2" fmla="*/ 0 h 793524"/>
                <a:gd name="connsiteX3" fmla="*/ 248371 w 672596"/>
                <a:gd name="connsiteY3" fmla="*/ 0 h 793524"/>
                <a:gd name="connsiteX4" fmla="*/ 672597 w 672596"/>
                <a:gd name="connsiteY4" fmla="*/ 793524 h 793524"/>
                <a:gd name="connsiteX5" fmla="*/ 186732 w 672596"/>
                <a:gd name="connsiteY5" fmla="*/ 625802 h 793524"/>
                <a:gd name="connsiteX6" fmla="*/ 0 w 672596"/>
                <a:gd name="connsiteY6" fmla="*/ 694334 h 793524"/>
                <a:gd name="connsiteX7" fmla="*/ 76143 w 672596"/>
                <a:gd name="connsiteY7" fmla="*/ 550057 h 79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596" h="793524">
                  <a:moveTo>
                    <a:pt x="184919" y="512184"/>
                  </a:moveTo>
                  <a:lnTo>
                    <a:pt x="445980" y="600554"/>
                  </a:lnTo>
                  <a:lnTo>
                    <a:pt x="126905" y="0"/>
                  </a:lnTo>
                  <a:lnTo>
                    <a:pt x="248371" y="0"/>
                  </a:lnTo>
                  <a:lnTo>
                    <a:pt x="672597" y="793524"/>
                  </a:lnTo>
                  <a:lnTo>
                    <a:pt x="186732" y="625802"/>
                  </a:lnTo>
                  <a:lnTo>
                    <a:pt x="0" y="694334"/>
                  </a:lnTo>
                  <a:lnTo>
                    <a:pt x="76143" y="550057"/>
                  </a:lnTo>
                  <a:close/>
                </a:path>
              </a:pathLst>
            </a:custGeom>
            <a:solidFill>
              <a:srgbClr val="232E47"/>
            </a:solidFill>
            <a:ln w="18105" cap="flat">
              <a:noFill/>
              <a:prstDash val="solid"/>
              <a:miter/>
            </a:ln>
          </p:spPr>
          <p:txBody>
            <a:bodyPr rtlCol="0" anchor="ctr"/>
            <a:lstStyle/>
            <a:p>
              <a:endParaRPr lang="en-US"/>
            </a:p>
          </p:txBody>
        </p:sp>
        <p:sp>
          <p:nvSpPr>
            <p:cNvPr id="15" name="Forma libre 10">
              <a:extLst>
                <a:ext uri="{FF2B5EF4-FFF2-40B4-BE49-F238E27FC236}">
                  <a16:creationId xmlns:a16="http://schemas.microsoft.com/office/drawing/2014/main" id="{86CA93FE-FABD-284A-A3D3-EA167B3BCE3D}"/>
                </a:ext>
              </a:extLst>
            </p:cNvPr>
            <p:cNvSpPr/>
            <p:nvPr/>
          </p:nvSpPr>
          <p:spPr>
            <a:xfrm>
              <a:off x="652064" y="2919984"/>
              <a:ext cx="895586" cy="652853"/>
            </a:xfrm>
            <a:custGeom>
              <a:avLst/>
              <a:gdLst>
                <a:gd name="connsiteX0" fmla="*/ 349895 w 895586"/>
                <a:gd name="connsiteY0" fmla="*/ 0 h 652853"/>
                <a:gd name="connsiteX1" fmla="*/ 409722 w 895586"/>
                <a:gd name="connsiteY1" fmla="*/ 115422 h 652853"/>
                <a:gd name="connsiteX2" fmla="*/ 222990 w 895586"/>
                <a:gd name="connsiteY2" fmla="*/ 465294 h 652853"/>
                <a:gd name="connsiteX3" fmla="*/ 409722 w 895586"/>
                <a:gd name="connsiteY3" fmla="*/ 396762 h 652853"/>
                <a:gd name="connsiteX4" fmla="*/ 895587 w 895586"/>
                <a:gd name="connsiteY4" fmla="*/ 564484 h 652853"/>
                <a:gd name="connsiteX5" fmla="*/ 821257 w 895586"/>
                <a:gd name="connsiteY5" fmla="*/ 652854 h 652853"/>
                <a:gd name="connsiteX6" fmla="*/ 407909 w 895586"/>
                <a:gd name="connsiteY6" fmla="*/ 510380 h 652853"/>
                <a:gd name="connsiteX7" fmla="*/ 0 w 895586"/>
                <a:gd name="connsiteY7" fmla="*/ 649247 h 6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86" h="652853">
                  <a:moveTo>
                    <a:pt x="349895" y="0"/>
                  </a:moveTo>
                  <a:lnTo>
                    <a:pt x="409722" y="115422"/>
                  </a:lnTo>
                  <a:lnTo>
                    <a:pt x="222990" y="465294"/>
                  </a:lnTo>
                  <a:lnTo>
                    <a:pt x="409722" y="396762"/>
                  </a:lnTo>
                  <a:lnTo>
                    <a:pt x="895587" y="564484"/>
                  </a:lnTo>
                  <a:lnTo>
                    <a:pt x="821257" y="652854"/>
                  </a:lnTo>
                  <a:lnTo>
                    <a:pt x="407909" y="510380"/>
                  </a:lnTo>
                  <a:lnTo>
                    <a:pt x="0" y="649247"/>
                  </a:lnTo>
                  <a:close/>
                </a:path>
              </a:pathLst>
            </a:custGeom>
            <a:solidFill>
              <a:srgbClr val="224F70"/>
            </a:solidFill>
            <a:ln w="18105" cap="flat">
              <a:noFill/>
              <a:prstDash val="solid"/>
              <a:miter/>
            </a:ln>
          </p:spPr>
          <p:txBody>
            <a:bodyPr rtlCol="0" anchor="ctr"/>
            <a:lstStyle/>
            <a:p>
              <a:endParaRPr lang="en-US"/>
            </a:p>
          </p:txBody>
        </p:sp>
        <p:grpSp>
          <p:nvGrpSpPr>
            <p:cNvPr id="16" name="Gráfico 29">
              <a:extLst>
                <a:ext uri="{FF2B5EF4-FFF2-40B4-BE49-F238E27FC236}">
                  <a16:creationId xmlns:a16="http://schemas.microsoft.com/office/drawing/2014/main" id="{512E144F-6DB8-1544-979D-85E4097D60CF}"/>
                </a:ext>
              </a:extLst>
            </p:cNvPr>
            <p:cNvGrpSpPr/>
            <p:nvPr/>
          </p:nvGrpSpPr>
          <p:grpSpPr>
            <a:xfrm>
              <a:off x="1741634" y="2743245"/>
              <a:ext cx="2889808" cy="800737"/>
              <a:chOff x="1741634" y="2743245"/>
              <a:chExt cx="2889808" cy="800737"/>
            </a:xfrm>
          </p:grpSpPr>
          <p:sp>
            <p:nvSpPr>
              <p:cNvPr id="17" name="Forma libre 14">
                <a:extLst>
                  <a:ext uri="{FF2B5EF4-FFF2-40B4-BE49-F238E27FC236}">
                    <a16:creationId xmlns:a16="http://schemas.microsoft.com/office/drawing/2014/main" id="{D73A11A3-4A9E-3E47-AD9D-FC929552E7A9}"/>
                  </a:ext>
                </a:extLst>
              </p:cNvPr>
              <p:cNvSpPr/>
              <p:nvPr/>
            </p:nvSpPr>
            <p:spPr>
              <a:xfrm>
                <a:off x="1741634" y="3387082"/>
                <a:ext cx="70704" cy="155097"/>
              </a:xfrm>
              <a:custGeom>
                <a:avLst/>
                <a:gdLst>
                  <a:gd name="connsiteX0" fmla="*/ 14503 w 70704"/>
                  <a:gd name="connsiteY0" fmla="*/ 142474 h 155097"/>
                  <a:gd name="connsiteX1" fmla="*/ 70704 w 70704"/>
                  <a:gd name="connsiteY1" fmla="*/ 142474 h 155097"/>
                  <a:gd name="connsiteX2" fmla="*/ 70704 w 70704"/>
                  <a:gd name="connsiteY2" fmla="*/ 155098 h 155097"/>
                  <a:gd name="connsiteX3" fmla="*/ 0 w 70704"/>
                  <a:gd name="connsiteY3" fmla="*/ 155098 h 155097"/>
                  <a:gd name="connsiteX4" fmla="*/ 0 w 70704"/>
                  <a:gd name="connsiteY4" fmla="*/ 0 h 155097"/>
                  <a:gd name="connsiteX5" fmla="*/ 14503 w 70704"/>
                  <a:gd name="connsiteY5" fmla="*/ 0 h 15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04" h="155097">
                    <a:moveTo>
                      <a:pt x="14503" y="142474"/>
                    </a:moveTo>
                    <a:lnTo>
                      <a:pt x="70704" y="142474"/>
                    </a:lnTo>
                    <a:lnTo>
                      <a:pt x="70704" y="155098"/>
                    </a:lnTo>
                    <a:lnTo>
                      <a:pt x="0" y="155098"/>
                    </a:lnTo>
                    <a:lnTo>
                      <a:pt x="0" y="0"/>
                    </a:lnTo>
                    <a:lnTo>
                      <a:pt x="14503" y="0"/>
                    </a:lnTo>
                    <a:close/>
                  </a:path>
                </a:pathLst>
              </a:custGeom>
              <a:solidFill>
                <a:srgbClr val="224F70"/>
              </a:solidFill>
              <a:ln w="18105" cap="flat">
                <a:noFill/>
                <a:prstDash val="solid"/>
                <a:miter/>
              </a:ln>
            </p:spPr>
            <p:txBody>
              <a:bodyPr rtlCol="0" anchor="ctr"/>
              <a:lstStyle/>
              <a:p>
                <a:endParaRPr lang="en-US"/>
              </a:p>
            </p:txBody>
          </p:sp>
          <p:sp>
            <p:nvSpPr>
              <p:cNvPr id="18" name="Forma libre 30">
                <a:extLst>
                  <a:ext uri="{FF2B5EF4-FFF2-40B4-BE49-F238E27FC236}">
                    <a16:creationId xmlns:a16="http://schemas.microsoft.com/office/drawing/2014/main" id="{E3B177CF-EEA4-A549-A212-05DD1BFB040F}"/>
                  </a:ext>
                </a:extLst>
              </p:cNvPr>
              <p:cNvSpPr/>
              <p:nvPr/>
            </p:nvSpPr>
            <p:spPr>
              <a:xfrm>
                <a:off x="1928366" y="3388885"/>
                <a:ext cx="130530" cy="151490"/>
              </a:xfrm>
              <a:custGeom>
                <a:avLst/>
                <a:gdLst>
                  <a:gd name="connsiteX0" fmla="*/ 99711 w 130530"/>
                  <a:gd name="connsiteY0" fmla="*/ 115422 h 151490"/>
                  <a:gd name="connsiteX1" fmla="*/ 29007 w 130530"/>
                  <a:gd name="connsiteY1" fmla="*/ 115422 h 151490"/>
                  <a:gd name="connsiteX2" fmla="*/ 16316 w 130530"/>
                  <a:gd name="connsiteY2" fmla="*/ 151491 h 151490"/>
                  <a:gd name="connsiteX3" fmla="*/ 0 w 130530"/>
                  <a:gd name="connsiteY3" fmla="*/ 151491 h 151490"/>
                  <a:gd name="connsiteX4" fmla="*/ 56201 w 130530"/>
                  <a:gd name="connsiteY4" fmla="*/ 0 h 151490"/>
                  <a:gd name="connsiteX5" fmla="*/ 74330 w 130530"/>
                  <a:gd name="connsiteY5" fmla="*/ 0 h 151490"/>
                  <a:gd name="connsiteX6" fmla="*/ 130531 w 130530"/>
                  <a:gd name="connsiteY6" fmla="*/ 151491 h 151490"/>
                  <a:gd name="connsiteX7" fmla="*/ 114215 w 130530"/>
                  <a:gd name="connsiteY7" fmla="*/ 151491 h 151490"/>
                  <a:gd name="connsiteX8" fmla="*/ 99711 w 130530"/>
                  <a:gd name="connsiteY8" fmla="*/ 115422 h 151490"/>
                  <a:gd name="connsiteX9" fmla="*/ 94272 w 130530"/>
                  <a:gd name="connsiteY9" fmla="*/ 102797 h 151490"/>
                  <a:gd name="connsiteX10" fmla="*/ 65266 w 130530"/>
                  <a:gd name="connsiteY10" fmla="*/ 19838 h 151490"/>
                  <a:gd name="connsiteX11" fmla="*/ 34446 w 130530"/>
                  <a:gd name="connsiteY11" fmla="*/ 102797 h 151490"/>
                  <a:gd name="connsiteX12" fmla="*/ 94272 w 130530"/>
                  <a:gd name="connsiteY12" fmla="*/ 102797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530" h="151490">
                    <a:moveTo>
                      <a:pt x="99711" y="115422"/>
                    </a:moveTo>
                    <a:lnTo>
                      <a:pt x="29007" y="115422"/>
                    </a:lnTo>
                    <a:lnTo>
                      <a:pt x="16316" y="151491"/>
                    </a:lnTo>
                    <a:lnTo>
                      <a:pt x="0" y="151491"/>
                    </a:lnTo>
                    <a:lnTo>
                      <a:pt x="56201" y="0"/>
                    </a:lnTo>
                    <a:lnTo>
                      <a:pt x="74330" y="0"/>
                    </a:lnTo>
                    <a:lnTo>
                      <a:pt x="130531" y="151491"/>
                    </a:lnTo>
                    <a:lnTo>
                      <a:pt x="114215" y="151491"/>
                    </a:lnTo>
                    <a:lnTo>
                      <a:pt x="99711" y="115422"/>
                    </a:lnTo>
                    <a:close/>
                    <a:moveTo>
                      <a:pt x="94272" y="102797"/>
                    </a:moveTo>
                    <a:lnTo>
                      <a:pt x="65266" y="19838"/>
                    </a:lnTo>
                    <a:lnTo>
                      <a:pt x="34446" y="102797"/>
                    </a:lnTo>
                    <a:lnTo>
                      <a:pt x="94272" y="102797"/>
                    </a:lnTo>
                    <a:close/>
                  </a:path>
                </a:pathLst>
              </a:custGeom>
              <a:solidFill>
                <a:srgbClr val="224F70"/>
              </a:solidFill>
              <a:ln w="18105" cap="flat">
                <a:noFill/>
                <a:prstDash val="solid"/>
                <a:miter/>
              </a:ln>
            </p:spPr>
            <p:txBody>
              <a:bodyPr rtlCol="0" anchor="ctr"/>
              <a:lstStyle/>
              <a:p>
                <a:endParaRPr lang="en-US"/>
              </a:p>
            </p:txBody>
          </p:sp>
          <p:sp>
            <p:nvSpPr>
              <p:cNvPr id="19" name="Forma libre 31">
                <a:extLst>
                  <a:ext uri="{FF2B5EF4-FFF2-40B4-BE49-F238E27FC236}">
                    <a16:creationId xmlns:a16="http://schemas.microsoft.com/office/drawing/2014/main" id="{93ED0228-6E3C-BA4F-89FD-0AFE36C64C3B}"/>
                  </a:ext>
                </a:extLst>
              </p:cNvPr>
              <p:cNvSpPr/>
              <p:nvPr/>
            </p:nvSpPr>
            <p:spPr>
              <a:xfrm>
                <a:off x="2174924" y="3387082"/>
                <a:ext cx="101523" cy="155097"/>
              </a:xfrm>
              <a:custGeom>
                <a:avLst/>
                <a:gdLst>
                  <a:gd name="connsiteX0" fmla="*/ 101524 w 101523"/>
                  <a:gd name="connsiteY0" fmla="*/ 0 h 155097"/>
                  <a:gd name="connsiteX1" fmla="*/ 101524 w 101523"/>
                  <a:gd name="connsiteY1" fmla="*/ 14428 h 155097"/>
                  <a:gd name="connsiteX2" fmla="*/ 59827 w 101523"/>
                  <a:gd name="connsiteY2" fmla="*/ 14428 h 155097"/>
                  <a:gd name="connsiteX3" fmla="*/ 59827 w 101523"/>
                  <a:gd name="connsiteY3" fmla="*/ 155098 h 155097"/>
                  <a:gd name="connsiteX4" fmla="*/ 43510 w 101523"/>
                  <a:gd name="connsiteY4" fmla="*/ 155098 h 155097"/>
                  <a:gd name="connsiteX5" fmla="*/ 43510 w 101523"/>
                  <a:gd name="connsiteY5" fmla="*/ 14428 h 155097"/>
                  <a:gd name="connsiteX6" fmla="*/ 0 w 101523"/>
                  <a:gd name="connsiteY6" fmla="*/ 14428 h 155097"/>
                  <a:gd name="connsiteX7" fmla="*/ 0 w 101523"/>
                  <a:gd name="connsiteY7" fmla="*/ 0 h 15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523" h="155097">
                    <a:moveTo>
                      <a:pt x="101524" y="0"/>
                    </a:moveTo>
                    <a:lnTo>
                      <a:pt x="101524" y="14428"/>
                    </a:lnTo>
                    <a:lnTo>
                      <a:pt x="59827" y="14428"/>
                    </a:lnTo>
                    <a:lnTo>
                      <a:pt x="59827" y="155098"/>
                    </a:lnTo>
                    <a:lnTo>
                      <a:pt x="43510" y="155098"/>
                    </a:lnTo>
                    <a:lnTo>
                      <a:pt x="43510" y="14428"/>
                    </a:lnTo>
                    <a:lnTo>
                      <a:pt x="0" y="14428"/>
                    </a:lnTo>
                    <a:lnTo>
                      <a:pt x="0" y="0"/>
                    </a:lnTo>
                    <a:close/>
                  </a:path>
                </a:pathLst>
              </a:custGeom>
              <a:solidFill>
                <a:srgbClr val="224F70"/>
              </a:solidFill>
              <a:ln w="18105" cap="flat">
                <a:noFill/>
                <a:prstDash val="solid"/>
                <a:miter/>
              </a:ln>
            </p:spPr>
            <p:txBody>
              <a:bodyPr rtlCol="0" anchor="ctr"/>
              <a:lstStyle/>
              <a:p>
                <a:endParaRPr lang="en-US"/>
              </a:p>
            </p:txBody>
          </p:sp>
          <p:sp>
            <p:nvSpPr>
              <p:cNvPr id="20" name="Forma libre 32">
                <a:extLst>
                  <a:ext uri="{FF2B5EF4-FFF2-40B4-BE49-F238E27FC236}">
                    <a16:creationId xmlns:a16="http://schemas.microsoft.com/office/drawing/2014/main" id="{34B26092-D9E0-C541-8CE1-7E042F02A2C8}"/>
                  </a:ext>
                </a:extLst>
              </p:cNvPr>
              <p:cNvSpPr/>
              <p:nvPr/>
            </p:nvSpPr>
            <p:spPr>
              <a:xfrm>
                <a:off x="2405166" y="3387082"/>
                <a:ext cx="16316" cy="153294"/>
              </a:xfrm>
              <a:custGeom>
                <a:avLst/>
                <a:gdLst>
                  <a:gd name="connsiteX0" fmla="*/ 0 w 16316"/>
                  <a:gd name="connsiteY0" fmla="*/ 0 h 153294"/>
                  <a:gd name="connsiteX1" fmla="*/ 16316 w 16316"/>
                  <a:gd name="connsiteY1" fmla="*/ 0 h 153294"/>
                  <a:gd name="connsiteX2" fmla="*/ 16316 w 16316"/>
                  <a:gd name="connsiteY2" fmla="*/ 153294 h 153294"/>
                  <a:gd name="connsiteX3" fmla="*/ 0 w 16316"/>
                  <a:gd name="connsiteY3" fmla="*/ 153294 h 153294"/>
                </a:gdLst>
                <a:ahLst/>
                <a:cxnLst>
                  <a:cxn ang="0">
                    <a:pos x="connsiteX0" y="connsiteY0"/>
                  </a:cxn>
                  <a:cxn ang="0">
                    <a:pos x="connsiteX1" y="connsiteY1"/>
                  </a:cxn>
                  <a:cxn ang="0">
                    <a:pos x="connsiteX2" y="connsiteY2"/>
                  </a:cxn>
                  <a:cxn ang="0">
                    <a:pos x="connsiteX3" y="connsiteY3"/>
                  </a:cxn>
                </a:cxnLst>
                <a:rect l="l" t="t" r="r" b="b"/>
                <a:pathLst>
                  <a:path w="16316" h="153294">
                    <a:moveTo>
                      <a:pt x="0" y="0"/>
                    </a:moveTo>
                    <a:lnTo>
                      <a:pt x="16316" y="0"/>
                    </a:lnTo>
                    <a:lnTo>
                      <a:pt x="16316" y="153294"/>
                    </a:lnTo>
                    <a:lnTo>
                      <a:pt x="0" y="153294"/>
                    </a:lnTo>
                    <a:close/>
                  </a:path>
                </a:pathLst>
              </a:custGeom>
              <a:solidFill>
                <a:srgbClr val="224F70"/>
              </a:solidFill>
              <a:ln w="18105" cap="flat">
                <a:noFill/>
                <a:prstDash val="solid"/>
                <a:miter/>
              </a:ln>
            </p:spPr>
            <p:txBody>
              <a:bodyPr rtlCol="0" anchor="ctr"/>
              <a:lstStyle/>
              <a:p>
                <a:endParaRPr lang="en-US"/>
              </a:p>
            </p:txBody>
          </p:sp>
          <p:sp>
            <p:nvSpPr>
              <p:cNvPr id="21" name="Forma libre 33">
                <a:extLst>
                  <a:ext uri="{FF2B5EF4-FFF2-40B4-BE49-F238E27FC236}">
                    <a16:creationId xmlns:a16="http://schemas.microsoft.com/office/drawing/2014/main" id="{A8616255-B588-C24F-BBB6-7F9F8CD6E107}"/>
                  </a:ext>
                </a:extLst>
              </p:cNvPr>
              <p:cNvSpPr/>
              <p:nvPr/>
            </p:nvSpPr>
            <p:spPr>
              <a:xfrm>
                <a:off x="2561078" y="3387082"/>
                <a:ext cx="116027" cy="155097"/>
              </a:xfrm>
              <a:custGeom>
                <a:avLst/>
                <a:gdLst>
                  <a:gd name="connsiteX0" fmla="*/ 116027 w 116027"/>
                  <a:gd name="connsiteY0" fmla="*/ 155098 h 155097"/>
                  <a:gd name="connsiteX1" fmla="*/ 99711 w 116027"/>
                  <a:gd name="connsiteY1" fmla="*/ 155098 h 155097"/>
                  <a:gd name="connsiteX2" fmla="*/ 14503 w 116027"/>
                  <a:gd name="connsiteY2" fmla="*/ 25249 h 155097"/>
                  <a:gd name="connsiteX3" fmla="*/ 14503 w 116027"/>
                  <a:gd name="connsiteY3" fmla="*/ 155098 h 155097"/>
                  <a:gd name="connsiteX4" fmla="*/ 0 w 116027"/>
                  <a:gd name="connsiteY4" fmla="*/ 155098 h 155097"/>
                  <a:gd name="connsiteX5" fmla="*/ 0 w 116027"/>
                  <a:gd name="connsiteY5" fmla="*/ 0 h 155097"/>
                  <a:gd name="connsiteX6" fmla="*/ 14503 w 116027"/>
                  <a:gd name="connsiteY6" fmla="*/ 0 h 155097"/>
                  <a:gd name="connsiteX7" fmla="*/ 99711 w 116027"/>
                  <a:gd name="connsiteY7" fmla="*/ 129849 h 155097"/>
                  <a:gd name="connsiteX8" fmla="*/ 99711 w 116027"/>
                  <a:gd name="connsiteY8" fmla="*/ 0 h 155097"/>
                  <a:gd name="connsiteX9" fmla="*/ 116027 w 116027"/>
                  <a:gd name="connsiteY9" fmla="*/ 0 h 15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027" h="155097">
                    <a:moveTo>
                      <a:pt x="116027" y="155098"/>
                    </a:moveTo>
                    <a:lnTo>
                      <a:pt x="99711" y="155098"/>
                    </a:lnTo>
                    <a:lnTo>
                      <a:pt x="14503" y="25249"/>
                    </a:lnTo>
                    <a:lnTo>
                      <a:pt x="14503" y="155098"/>
                    </a:lnTo>
                    <a:lnTo>
                      <a:pt x="0" y="155098"/>
                    </a:lnTo>
                    <a:lnTo>
                      <a:pt x="0" y="0"/>
                    </a:lnTo>
                    <a:lnTo>
                      <a:pt x="14503" y="0"/>
                    </a:lnTo>
                    <a:lnTo>
                      <a:pt x="99711" y="129849"/>
                    </a:lnTo>
                    <a:lnTo>
                      <a:pt x="99711" y="0"/>
                    </a:lnTo>
                    <a:lnTo>
                      <a:pt x="116027" y="0"/>
                    </a:lnTo>
                    <a:close/>
                  </a:path>
                </a:pathLst>
              </a:custGeom>
              <a:solidFill>
                <a:srgbClr val="224F70"/>
              </a:solidFill>
              <a:ln w="18105" cap="flat">
                <a:noFill/>
                <a:prstDash val="solid"/>
                <a:miter/>
              </a:ln>
            </p:spPr>
            <p:txBody>
              <a:bodyPr rtlCol="0" anchor="ctr"/>
              <a:lstStyle/>
              <a:p>
                <a:endParaRPr lang="en-US"/>
              </a:p>
            </p:txBody>
          </p:sp>
          <p:sp>
            <p:nvSpPr>
              <p:cNvPr id="22" name="Forma libre 34">
                <a:extLst>
                  <a:ext uri="{FF2B5EF4-FFF2-40B4-BE49-F238E27FC236}">
                    <a16:creationId xmlns:a16="http://schemas.microsoft.com/office/drawing/2014/main" id="{73151646-62A0-E642-A48A-D2F8956A7C6D}"/>
                  </a:ext>
                </a:extLst>
              </p:cNvPr>
              <p:cNvSpPr/>
              <p:nvPr/>
            </p:nvSpPr>
            <p:spPr>
              <a:xfrm>
                <a:off x="2807636" y="3387082"/>
                <a:ext cx="152286" cy="156901"/>
              </a:xfrm>
              <a:custGeom>
                <a:avLst/>
                <a:gdLst>
                  <a:gd name="connsiteX0" fmla="*/ 38072 w 152286"/>
                  <a:gd name="connsiteY0" fmla="*/ 146081 h 156901"/>
                  <a:gd name="connsiteX1" fmla="*/ 10878 w 152286"/>
                  <a:gd name="connsiteY1" fmla="*/ 119029 h 156901"/>
                  <a:gd name="connsiteX2" fmla="*/ 0 w 152286"/>
                  <a:gd name="connsiteY2" fmla="*/ 79352 h 156901"/>
                  <a:gd name="connsiteX3" fmla="*/ 10878 w 152286"/>
                  <a:gd name="connsiteY3" fmla="*/ 37873 h 156901"/>
                  <a:gd name="connsiteX4" fmla="*/ 38072 w 152286"/>
                  <a:gd name="connsiteY4" fmla="*/ 10821 h 156901"/>
                  <a:gd name="connsiteX5" fmla="*/ 76143 w 152286"/>
                  <a:gd name="connsiteY5" fmla="*/ 0 h 156901"/>
                  <a:gd name="connsiteX6" fmla="*/ 116028 w 152286"/>
                  <a:gd name="connsiteY6" fmla="*/ 10821 h 156901"/>
                  <a:gd name="connsiteX7" fmla="*/ 143222 w 152286"/>
                  <a:gd name="connsiteY7" fmla="*/ 37873 h 156901"/>
                  <a:gd name="connsiteX8" fmla="*/ 152286 w 152286"/>
                  <a:gd name="connsiteY8" fmla="*/ 79352 h 156901"/>
                  <a:gd name="connsiteX9" fmla="*/ 143222 w 152286"/>
                  <a:gd name="connsiteY9" fmla="*/ 119029 h 156901"/>
                  <a:gd name="connsiteX10" fmla="*/ 116028 w 152286"/>
                  <a:gd name="connsiteY10" fmla="*/ 146081 h 156901"/>
                  <a:gd name="connsiteX11" fmla="*/ 76143 w 152286"/>
                  <a:gd name="connsiteY11" fmla="*/ 156901 h 156901"/>
                  <a:gd name="connsiteX12" fmla="*/ 38072 w 152286"/>
                  <a:gd name="connsiteY12" fmla="*/ 146081 h 156901"/>
                  <a:gd name="connsiteX13" fmla="*/ 108776 w 152286"/>
                  <a:gd name="connsiteY13" fmla="*/ 135260 h 156901"/>
                  <a:gd name="connsiteX14" fmla="*/ 130531 w 152286"/>
                  <a:gd name="connsiteY14" fmla="*/ 111815 h 156901"/>
                  <a:gd name="connsiteX15" fmla="*/ 137783 w 152286"/>
                  <a:gd name="connsiteY15" fmla="*/ 77549 h 156901"/>
                  <a:gd name="connsiteX16" fmla="*/ 130531 w 152286"/>
                  <a:gd name="connsiteY16" fmla="*/ 43283 h 156901"/>
                  <a:gd name="connsiteX17" fmla="*/ 108776 w 152286"/>
                  <a:gd name="connsiteY17" fmla="*/ 19838 h 156901"/>
                  <a:gd name="connsiteX18" fmla="*/ 77956 w 152286"/>
                  <a:gd name="connsiteY18" fmla="*/ 12624 h 156901"/>
                  <a:gd name="connsiteX19" fmla="*/ 47136 w 152286"/>
                  <a:gd name="connsiteY19" fmla="*/ 19838 h 156901"/>
                  <a:gd name="connsiteX20" fmla="*/ 25381 w 152286"/>
                  <a:gd name="connsiteY20" fmla="*/ 43283 h 156901"/>
                  <a:gd name="connsiteX21" fmla="*/ 18129 w 152286"/>
                  <a:gd name="connsiteY21" fmla="*/ 77549 h 156901"/>
                  <a:gd name="connsiteX22" fmla="*/ 25381 w 152286"/>
                  <a:gd name="connsiteY22" fmla="*/ 111815 h 156901"/>
                  <a:gd name="connsiteX23" fmla="*/ 47136 w 152286"/>
                  <a:gd name="connsiteY23" fmla="*/ 135260 h 156901"/>
                  <a:gd name="connsiteX24" fmla="*/ 77956 w 152286"/>
                  <a:gd name="connsiteY24" fmla="*/ 142474 h 156901"/>
                  <a:gd name="connsiteX25" fmla="*/ 108776 w 152286"/>
                  <a:gd name="connsiteY25" fmla="*/ 135260 h 15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86" h="156901">
                    <a:moveTo>
                      <a:pt x="38072" y="146081"/>
                    </a:moveTo>
                    <a:cubicBezTo>
                      <a:pt x="27194" y="138867"/>
                      <a:pt x="18129" y="129849"/>
                      <a:pt x="10878" y="119029"/>
                    </a:cubicBezTo>
                    <a:cubicBezTo>
                      <a:pt x="3626" y="106404"/>
                      <a:pt x="0" y="93780"/>
                      <a:pt x="0" y="79352"/>
                    </a:cubicBezTo>
                    <a:cubicBezTo>
                      <a:pt x="0" y="64925"/>
                      <a:pt x="3626" y="50497"/>
                      <a:pt x="10878" y="37873"/>
                    </a:cubicBezTo>
                    <a:cubicBezTo>
                      <a:pt x="18129" y="25249"/>
                      <a:pt x="27194" y="16231"/>
                      <a:pt x="38072" y="10821"/>
                    </a:cubicBezTo>
                    <a:cubicBezTo>
                      <a:pt x="48949" y="3607"/>
                      <a:pt x="63453" y="0"/>
                      <a:pt x="76143" y="0"/>
                    </a:cubicBezTo>
                    <a:cubicBezTo>
                      <a:pt x="90646" y="0"/>
                      <a:pt x="103337" y="3607"/>
                      <a:pt x="116028" y="10821"/>
                    </a:cubicBezTo>
                    <a:cubicBezTo>
                      <a:pt x="126905" y="18035"/>
                      <a:pt x="135970" y="27052"/>
                      <a:pt x="143222" y="37873"/>
                    </a:cubicBezTo>
                    <a:cubicBezTo>
                      <a:pt x="150473" y="50497"/>
                      <a:pt x="152286" y="63121"/>
                      <a:pt x="152286" y="79352"/>
                    </a:cubicBezTo>
                    <a:cubicBezTo>
                      <a:pt x="152286" y="93780"/>
                      <a:pt x="148660" y="108208"/>
                      <a:pt x="143222" y="119029"/>
                    </a:cubicBezTo>
                    <a:cubicBezTo>
                      <a:pt x="135970" y="131653"/>
                      <a:pt x="126905" y="140670"/>
                      <a:pt x="116028" y="146081"/>
                    </a:cubicBezTo>
                    <a:cubicBezTo>
                      <a:pt x="105150" y="153295"/>
                      <a:pt x="90646" y="156901"/>
                      <a:pt x="76143" y="156901"/>
                    </a:cubicBezTo>
                    <a:cubicBezTo>
                      <a:pt x="63453" y="156901"/>
                      <a:pt x="50762" y="153295"/>
                      <a:pt x="38072" y="146081"/>
                    </a:cubicBezTo>
                    <a:moveTo>
                      <a:pt x="108776" y="135260"/>
                    </a:moveTo>
                    <a:cubicBezTo>
                      <a:pt x="117840" y="129849"/>
                      <a:pt x="125092" y="122636"/>
                      <a:pt x="130531" y="111815"/>
                    </a:cubicBezTo>
                    <a:cubicBezTo>
                      <a:pt x="135970" y="102797"/>
                      <a:pt x="137783" y="90173"/>
                      <a:pt x="137783" y="77549"/>
                    </a:cubicBezTo>
                    <a:cubicBezTo>
                      <a:pt x="137783" y="64925"/>
                      <a:pt x="135970" y="52300"/>
                      <a:pt x="130531" y="43283"/>
                    </a:cubicBezTo>
                    <a:cubicBezTo>
                      <a:pt x="125092" y="34266"/>
                      <a:pt x="117840" y="25249"/>
                      <a:pt x="108776" y="19838"/>
                    </a:cubicBezTo>
                    <a:cubicBezTo>
                      <a:pt x="99711" y="14428"/>
                      <a:pt x="88834" y="12624"/>
                      <a:pt x="77956" y="12624"/>
                    </a:cubicBezTo>
                    <a:cubicBezTo>
                      <a:pt x="67078" y="12624"/>
                      <a:pt x="56201" y="14428"/>
                      <a:pt x="47136" y="19838"/>
                    </a:cubicBezTo>
                    <a:cubicBezTo>
                      <a:pt x="38072" y="25249"/>
                      <a:pt x="30820" y="32462"/>
                      <a:pt x="25381" y="43283"/>
                    </a:cubicBezTo>
                    <a:cubicBezTo>
                      <a:pt x="19942" y="52300"/>
                      <a:pt x="18129" y="64925"/>
                      <a:pt x="18129" y="77549"/>
                    </a:cubicBezTo>
                    <a:cubicBezTo>
                      <a:pt x="18129" y="90173"/>
                      <a:pt x="19942" y="102797"/>
                      <a:pt x="25381" y="111815"/>
                    </a:cubicBezTo>
                    <a:cubicBezTo>
                      <a:pt x="30820" y="120832"/>
                      <a:pt x="38072" y="129849"/>
                      <a:pt x="47136" y="135260"/>
                    </a:cubicBezTo>
                    <a:cubicBezTo>
                      <a:pt x="56201" y="140670"/>
                      <a:pt x="67078" y="142474"/>
                      <a:pt x="77956" y="142474"/>
                    </a:cubicBezTo>
                    <a:cubicBezTo>
                      <a:pt x="88834" y="142474"/>
                      <a:pt x="99711" y="140670"/>
                      <a:pt x="108776" y="135260"/>
                    </a:cubicBezTo>
                  </a:path>
                </a:pathLst>
              </a:custGeom>
              <a:solidFill>
                <a:srgbClr val="224F70"/>
              </a:solidFill>
              <a:ln w="18105" cap="flat">
                <a:noFill/>
                <a:prstDash val="solid"/>
                <a:miter/>
              </a:ln>
            </p:spPr>
            <p:txBody>
              <a:bodyPr rtlCol="0" anchor="ctr"/>
              <a:lstStyle/>
              <a:p>
                <a:endParaRPr lang="en-US"/>
              </a:p>
            </p:txBody>
          </p:sp>
          <p:sp>
            <p:nvSpPr>
              <p:cNvPr id="23" name="Forma libre 35">
                <a:extLst>
                  <a:ext uri="{FF2B5EF4-FFF2-40B4-BE49-F238E27FC236}">
                    <a16:creationId xmlns:a16="http://schemas.microsoft.com/office/drawing/2014/main" id="{2303AE2A-409A-0844-B094-14FF32D9611E}"/>
                  </a:ext>
                </a:extLst>
              </p:cNvPr>
              <p:cNvSpPr/>
              <p:nvPr/>
            </p:nvSpPr>
            <p:spPr>
              <a:xfrm>
                <a:off x="3083201" y="3388885"/>
                <a:ext cx="130531" cy="151490"/>
              </a:xfrm>
              <a:custGeom>
                <a:avLst/>
                <a:gdLst>
                  <a:gd name="connsiteX0" fmla="*/ 99711 w 130531"/>
                  <a:gd name="connsiteY0" fmla="*/ 115422 h 151490"/>
                  <a:gd name="connsiteX1" fmla="*/ 29007 w 130531"/>
                  <a:gd name="connsiteY1" fmla="*/ 115422 h 151490"/>
                  <a:gd name="connsiteX2" fmla="*/ 16317 w 130531"/>
                  <a:gd name="connsiteY2" fmla="*/ 151491 h 151490"/>
                  <a:gd name="connsiteX3" fmla="*/ 0 w 130531"/>
                  <a:gd name="connsiteY3" fmla="*/ 151491 h 151490"/>
                  <a:gd name="connsiteX4" fmla="*/ 56201 w 130531"/>
                  <a:gd name="connsiteY4" fmla="*/ 0 h 151490"/>
                  <a:gd name="connsiteX5" fmla="*/ 74330 w 130531"/>
                  <a:gd name="connsiteY5" fmla="*/ 0 h 151490"/>
                  <a:gd name="connsiteX6" fmla="*/ 130531 w 130531"/>
                  <a:gd name="connsiteY6" fmla="*/ 151491 h 151490"/>
                  <a:gd name="connsiteX7" fmla="*/ 114215 w 130531"/>
                  <a:gd name="connsiteY7" fmla="*/ 151491 h 151490"/>
                  <a:gd name="connsiteX8" fmla="*/ 99711 w 130531"/>
                  <a:gd name="connsiteY8" fmla="*/ 115422 h 151490"/>
                  <a:gd name="connsiteX9" fmla="*/ 96085 w 130531"/>
                  <a:gd name="connsiteY9" fmla="*/ 102797 h 151490"/>
                  <a:gd name="connsiteX10" fmla="*/ 65266 w 130531"/>
                  <a:gd name="connsiteY10" fmla="*/ 19838 h 151490"/>
                  <a:gd name="connsiteX11" fmla="*/ 34446 w 130531"/>
                  <a:gd name="connsiteY11" fmla="*/ 102797 h 151490"/>
                  <a:gd name="connsiteX12" fmla="*/ 96085 w 130531"/>
                  <a:gd name="connsiteY12" fmla="*/ 102797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531" h="151490">
                    <a:moveTo>
                      <a:pt x="99711" y="115422"/>
                    </a:moveTo>
                    <a:lnTo>
                      <a:pt x="29007" y="115422"/>
                    </a:lnTo>
                    <a:lnTo>
                      <a:pt x="16317" y="151491"/>
                    </a:lnTo>
                    <a:lnTo>
                      <a:pt x="0" y="151491"/>
                    </a:lnTo>
                    <a:lnTo>
                      <a:pt x="56201" y="0"/>
                    </a:lnTo>
                    <a:lnTo>
                      <a:pt x="74330" y="0"/>
                    </a:lnTo>
                    <a:lnTo>
                      <a:pt x="130531" y="151491"/>
                    </a:lnTo>
                    <a:lnTo>
                      <a:pt x="114215" y="151491"/>
                    </a:lnTo>
                    <a:lnTo>
                      <a:pt x="99711" y="115422"/>
                    </a:lnTo>
                    <a:close/>
                    <a:moveTo>
                      <a:pt x="96085" y="102797"/>
                    </a:moveTo>
                    <a:lnTo>
                      <a:pt x="65266" y="19838"/>
                    </a:lnTo>
                    <a:lnTo>
                      <a:pt x="34446" y="102797"/>
                    </a:lnTo>
                    <a:lnTo>
                      <a:pt x="96085" y="102797"/>
                    </a:lnTo>
                    <a:close/>
                  </a:path>
                </a:pathLst>
              </a:custGeom>
              <a:solidFill>
                <a:srgbClr val="224F70"/>
              </a:solidFill>
              <a:ln w="18105" cap="flat">
                <a:noFill/>
                <a:prstDash val="solid"/>
                <a:miter/>
              </a:ln>
            </p:spPr>
            <p:txBody>
              <a:bodyPr rtlCol="0" anchor="ctr"/>
              <a:lstStyle/>
              <a:p>
                <a:endParaRPr lang="en-US"/>
              </a:p>
            </p:txBody>
          </p:sp>
          <p:sp>
            <p:nvSpPr>
              <p:cNvPr id="24" name="Forma libre 36">
                <a:extLst>
                  <a:ext uri="{FF2B5EF4-FFF2-40B4-BE49-F238E27FC236}">
                    <a16:creationId xmlns:a16="http://schemas.microsoft.com/office/drawing/2014/main" id="{B75B525D-477C-374D-981F-C73DA20CE110}"/>
                  </a:ext>
                </a:extLst>
              </p:cNvPr>
              <p:cNvSpPr/>
              <p:nvPr/>
            </p:nvSpPr>
            <p:spPr>
              <a:xfrm>
                <a:off x="3342450" y="3390689"/>
                <a:ext cx="150473" cy="151490"/>
              </a:xfrm>
              <a:custGeom>
                <a:avLst/>
                <a:gdLst>
                  <a:gd name="connsiteX0" fmla="*/ 150473 w 150473"/>
                  <a:gd name="connsiteY0" fmla="*/ 0 h 151490"/>
                  <a:gd name="connsiteX1" fmla="*/ 150473 w 150473"/>
                  <a:gd name="connsiteY1" fmla="*/ 151491 h 151490"/>
                  <a:gd name="connsiteX2" fmla="*/ 135970 w 150473"/>
                  <a:gd name="connsiteY2" fmla="*/ 151491 h 151490"/>
                  <a:gd name="connsiteX3" fmla="*/ 135970 w 150473"/>
                  <a:gd name="connsiteY3" fmla="*/ 30659 h 151490"/>
                  <a:gd name="connsiteX4" fmla="*/ 81582 w 150473"/>
                  <a:gd name="connsiteY4" fmla="*/ 151491 h 151490"/>
                  <a:gd name="connsiteX5" fmla="*/ 68891 w 150473"/>
                  <a:gd name="connsiteY5" fmla="*/ 151491 h 151490"/>
                  <a:gd name="connsiteX6" fmla="*/ 14503 w 150473"/>
                  <a:gd name="connsiteY6" fmla="*/ 30659 h 151490"/>
                  <a:gd name="connsiteX7" fmla="*/ 14503 w 150473"/>
                  <a:gd name="connsiteY7" fmla="*/ 151491 h 151490"/>
                  <a:gd name="connsiteX8" fmla="*/ 0 w 150473"/>
                  <a:gd name="connsiteY8" fmla="*/ 151491 h 151490"/>
                  <a:gd name="connsiteX9" fmla="*/ 0 w 150473"/>
                  <a:gd name="connsiteY9" fmla="*/ 0 h 151490"/>
                  <a:gd name="connsiteX10" fmla="*/ 16317 w 150473"/>
                  <a:gd name="connsiteY10" fmla="*/ 0 h 151490"/>
                  <a:gd name="connsiteX11" fmla="*/ 76143 w 150473"/>
                  <a:gd name="connsiteY11" fmla="*/ 131653 h 151490"/>
                  <a:gd name="connsiteX12" fmla="*/ 134157 w 150473"/>
                  <a:gd name="connsiteY12" fmla="*/ 0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473" h="151490">
                    <a:moveTo>
                      <a:pt x="150473" y="0"/>
                    </a:moveTo>
                    <a:lnTo>
                      <a:pt x="150473" y="151491"/>
                    </a:lnTo>
                    <a:lnTo>
                      <a:pt x="135970" y="151491"/>
                    </a:lnTo>
                    <a:lnTo>
                      <a:pt x="135970" y="30659"/>
                    </a:lnTo>
                    <a:lnTo>
                      <a:pt x="81582" y="151491"/>
                    </a:lnTo>
                    <a:lnTo>
                      <a:pt x="68891" y="151491"/>
                    </a:lnTo>
                    <a:lnTo>
                      <a:pt x="14503" y="30659"/>
                    </a:lnTo>
                    <a:lnTo>
                      <a:pt x="14503" y="151491"/>
                    </a:lnTo>
                    <a:lnTo>
                      <a:pt x="0" y="151491"/>
                    </a:lnTo>
                    <a:lnTo>
                      <a:pt x="0" y="0"/>
                    </a:lnTo>
                    <a:lnTo>
                      <a:pt x="16317" y="0"/>
                    </a:lnTo>
                    <a:lnTo>
                      <a:pt x="76143" y="131653"/>
                    </a:lnTo>
                    <a:lnTo>
                      <a:pt x="134157" y="0"/>
                    </a:lnTo>
                    <a:close/>
                  </a:path>
                </a:pathLst>
              </a:custGeom>
              <a:solidFill>
                <a:srgbClr val="224F70"/>
              </a:solidFill>
              <a:ln w="18105" cap="flat">
                <a:noFill/>
                <a:prstDash val="solid"/>
                <a:miter/>
              </a:ln>
            </p:spPr>
            <p:txBody>
              <a:bodyPr rtlCol="0" anchor="ctr"/>
              <a:lstStyle/>
              <a:p>
                <a:endParaRPr lang="en-US"/>
              </a:p>
            </p:txBody>
          </p:sp>
          <p:sp>
            <p:nvSpPr>
              <p:cNvPr id="25" name="Forma libre 37">
                <a:extLst>
                  <a:ext uri="{FF2B5EF4-FFF2-40B4-BE49-F238E27FC236}">
                    <a16:creationId xmlns:a16="http://schemas.microsoft.com/office/drawing/2014/main" id="{1DF35DC9-3384-5B4F-BE5C-346D9E3EC205}"/>
                  </a:ext>
                </a:extLst>
              </p:cNvPr>
              <p:cNvSpPr/>
              <p:nvPr/>
            </p:nvSpPr>
            <p:spPr>
              <a:xfrm>
                <a:off x="3632519" y="3340192"/>
                <a:ext cx="81581" cy="200184"/>
              </a:xfrm>
              <a:custGeom>
                <a:avLst/>
                <a:gdLst>
                  <a:gd name="connsiteX0" fmla="*/ 16317 w 81581"/>
                  <a:gd name="connsiteY0" fmla="*/ 59514 h 200184"/>
                  <a:gd name="connsiteX1" fmla="*/ 16317 w 81581"/>
                  <a:gd name="connsiteY1" fmla="*/ 117225 h 200184"/>
                  <a:gd name="connsiteX2" fmla="*/ 74330 w 81581"/>
                  <a:gd name="connsiteY2" fmla="*/ 117225 h 200184"/>
                  <a:gd name="connsiteX3" fmla="*/ 74330 w 81581"/>
                  <a:gd name="connsiteY3" fmla="*/ 129849 h 200184"/>
                  <a:gd name="connsiteX4" fmla="*/ 16317 w 81581"/>
                  <a:gd name="connsiteY4" fmla="*/ 129849 h 200184"/>
                  <a:gd name="connsiteX5" fmla="*/ 16317 w 81581"/>
                  <a:gd name="connsiteY5" fmla="*/ 187560 h 200184"/>
                  <a:gd name="connsiteX6" fmla="*/ 81582 w 81581"/>
                  <a:gd name="connsiteY6" fmla="*/ 187560 h 200184"/>
                  <a:gd name="connsiteX7" fmla="*/ 81582 w 81581"/>
                  <a:gd name="connsiteY7" fmla="*/ 200185 h 200184"/>
                  <a:gd name="connsiteX8" fmla="*/ 0 w 81581"/>
                  <a:gd name="connsiteY8" fmla="*/ 200185 h 200184"/>
                  <a:gd name="connsiteX9" fmla="*/ 0 w 81581"/>
                  <a:gd name="connsiteY9" fmla="*/ 46890 h 200184"/>
                  <a:gd name="connsiteX10" fmla="*/ 81582 w 81581"/>
                  <a:gd name="connsiteY10" fmla="*/ 46890 h 200184"/>
                  <a:gd name="connsiteX11" fmla="*/ 81582 w 81581"/>
                  <a:gd name="connsiteY11" fmla="*/ 59514 h 200184"/>
                  <a:gd name="connsiteX12" fmla="*/ 16317 w 81581"/>
                  <a:gd name="connsiteY12" fmla="*/ 59514 h 200184"/>
                  <a:gd name="connsiteX13" fmla="*/ 58014 w 81581"/>
                  <a:gd name="connsiteY13" fmla="*/ 14428 h 200184"/>
                  <a:gd name="connsiteX14" fmla="*/ 12690 w 81581"/>
                  <a:gd name="connsiteY14" fmla="*/ 41480 h 200184"/>
                  <a:gd name="connsiteX15" fmla="*/ 12690 w 81581"/>
                  <a:gd name="connsiteY15" fmla="*/ 28855 h 200184"/>
                  <a:gd name="connsiteX16" fmla="*/ 58014 w 81581"/>
                  <a:gd name="connsiteY16" fmla="*/ 0 h 200184"/>
                  <a:gd name="connsiteX17" fmla="*/ 58014 w 81581"/>
                  <a:gd name="connsiteY17" fmla="*/ 14428 h 20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81" h="200184">
                    <a:moveTo>
                      <a:pt x="16317" y="59514"/>
                    </a:moveTo>
                    <a:lnTo>
                      <a:pt x="16317" y="117225"/>
                    </a:lnTo>
                    <a:lnTo>
                      <a:pt x="74330" y="117225"/>
                    </a:lnTo>
                    <a:lnTo>
                      <a:pt x="74330" y="129849"/>
                    </a:lnTo>
                    <a:lnTo>
                      <a:pt x="16317" y="129849"/>
                    </a:lnTo>
                    <a:lnTo>
                      <a:pt x="16317" y="187560"/>
                    </a:lnTo>
                    <a:lnTo>
                      <a:pt x="81582" y="187560"/>
                    </a:lnTo>
                    <a:lnTo>
                      <a:pt x="81582" y="200185"/>
                    </a:lnTo>
                    <a:lnTo>
                      <a:pt x="0" y="200185"/>
                    </a:lnTo>
                    <a:lnTo>
                      <a:pt x="0" y="46890"/>
                    </a:lnTo>
                    <a:lnTo>
                      <a:pt x="81582" y="46890"/>
                    </a:lnTo>
                    <a:lnTo>
                      <a:pt x="81582" y="59514"/>
                    </a:lnTo>
                    <a:lnTo>
                      <a:pt x="16317" y="59514"/>
                    </a:lnTo>
                    <a:close/>
                    <a:moveTo>
                      <a:pt x="58014" y="14428"/>
                    </a:moveTo>
                    <a:lnTo>
                      <a:pt x="12690" y="41480"/>
                    </a:lnTo>
                    <a:lnTo>
                      <a:pt x="12690" y="28855"/>
                    </a:lnTo>
                    <a:lnTo>
                      <a:pt x="58014" y="0"/>
                    </a:lnTo>
                    <a:lnTo>
                      <a:pt x="58014" y="14428"/>
                    </a:lnTo>
                    <a:close/>
                  </a:path>
                </a:pathLst>
              </a:custGeom>
              <a:solidFill>
                <a:srgbClr val="224F70"/>
              </a:solidFill>
              <a:ln w="18105" cap="flat">
                <a:noFill/>
                <a:prstDash val="solid"/>
                <a:miter/>
              </a:ln>
            </p:spPr>
            <p:txBody>
              <a:bodyPr rtlCol="0" anchor="ctr"/>
              <a:lstStyle/>
              <a:p>
                <a:endParaRPr lang="en-US"/>
              </a:p>
            </p:txBody>
          </p:sp>
          <p:sp>
            <p:nvSpPr>
              <p:cNvPr id="26" name="Forma libre 38">
                <a:extLst>
                  <a:ext uri="{FF2B5EF4-FFF2-40B4-BE49-F238E27FC236}">
                    <a16:creationId xmlns:a16="http://schemas.microsoft.com/office/drawing/2014/main" id="{6D8FDC59-2FBC-7642-9D9C-DB776452BB1E}"/>
                  </a:ext>
                </a:extLst>
              </p:cNvPr>
              <p:cNvSpPr/>
              <p:nvPr/>
            </p:nvSpPr>
            <p:spPr>
              <a:xfrm>
                <a:off x="3846444" y="3388885"/>
                <a:ext cx="101524" cy="153294"/>
              </a:xfrm>
              <a:custGeom>
                <a:avLst/>
                <a:gdLst>
                  <a:gd name="connsiteX0" fmla="*/ 83395 w 101524"/>
                  <a:gd name="connsiteY0" fmla="*/ 153294 h 153294"/>
                  <a:gd name="connsiteX1" fmla="*/ 45323 w 101524"/>
                  <a:gd name="connsiteY1" fmla="*/ 88370 h 153294"/>
                  <a:gd name="connsiteX2" fmla="*/ 16316 w 101524"/>
                  <a:gd name="connsiteY2" fmla="*/ 88370 h 153294"/>
                  <a:gd name="connsiteX3" fmla="*/ 16316 w 101524"/>
                  <a:gd name="connsiteY3" fmla="*/ 153294 h 153294"/>
                  <a:gd name="connsiteX4" fmla="*/ 0 w 101524"/>
                  <a:gd name="connsiteY4" fmla="*/ 153294 h 153294"/>
                  <a:gd name="connsiteX5" fmla="*/ 0 w 101524"/>
                  <a:gd name="connsiteY5" fmla="*/ 0 h 153294"/>
                  <a:gd name="connsiteX6" fmla="*/ 47136 w 101524"/>
                  <a:gd name="connsiteY6" fmla="*/ 0 h 153294"/>
                  <a:gd name="connsiteX7" fmla="*/ 87021 w 101524"/>
                  <a:gd name="connsiteY7" fmla="*/ 12624 h 153294"/>
                  <a:gd name="connsiteX8" fmla="*/ 99711 w 101524"/>
                  <a:gd name="connsiteY8" fmla="*/ 45087 h 153294"/>
                  <a:gd name="connsiteX9" fmla="*/ 90646 w 101524"/>
                  <a:gd name="connsiteY9" fmla="*/ 73942 h 153294"/>
                  <a:gd name="connsiteX10" fmla="*/ 61639 w 101524"/>
                  <a:gd name="connsiteY10" fmla="*/ 88370 h 153294"/>
                  <a:gd name="connsiteX11" fmla="*/ 101524 w 101524"/>
                  <a:gd name="connsiteY11" fmla="*/ 153294 h 153294"/>
                  <a:gd name="connsiteX12" fmla="*/ 83395 w 101524"/>
                  <a:gd name="connsiteY12" fmla="*/ 153294 h 153294"/>
                  <a:gd name="connsiteX13" fmla="*/ 16316 w 101524"/>
                  <a:gd name="connsiteY13" fmla="*/ 75745 h 153294"/>
                  <a:gd name="connsiteX14" fmla="*/ 47136 w 101524"/>
                  <a:gd name="connsiteY14" fmla="*/ 75745 h 153294"/>
                  <a:gd name="connsiteX15" fmla="*/ 74330 w 101524"/>
                  <a:gd name="connsiteY15" fmla="*/ 66728 h 153294"/>
                  <a:gd name="connsiteX16" fmla="*/ 83395 w 101524"/>
                  <a:gd name="connsiteY16" fmla="*/ 43283 h 153294"/>
                  <a:gd name="connsiteX17" fmla="*/ 74330 w 101524"/>
                  <a:gd name="connsiteY17" fmla="*/ 19838 h 153294"/>
                  <a:gd name="connsiteX18" fmla="*/ 47136 w 101524"/>
                  <a:gd name="connsiteY18" fmla="*/ 10821 h 153294"/>
                  <a:gd name="connsiteX19" fmla="*/ 16316 w 101524"/>
                  <a:gd name="connsiteY19" fmla="*/ 10821 h 153294"/>
                  <a:gd name="connsiteX20" fmla="*/ 16316 w 101524"/>
                  <a:gd name="connsiteY20" fmla="*/ 75745 h 15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1524" h="153294">
                    <a:moveTo>
                      <a:pt x="83395" y="153294"/>
                    </a:moveTo>
                    <a:lnTo>
                      <a:pt x="45323" y="88370"/>
                    </a:lnTo>
                    <a:lnTo>
                      <a:pt x="16316" y="88370"/>
                    </a:lnTo>
                    <a:lnTo>
                      <a:pt x="16316" y="153294"/>
                    </a:lnTo>
                    <a:lnTo>
                      <a:pt x="0" y="153294"/>
                    </a:lnTo>
                    <a:lnTo>
                      <a:pt x="0" y="0"/>
                    </a:lnTo>
                    <a:lnTo>
                      <a:pt x="47136" y="0"/>
                    </a:lnTo>
                    <a:cubicBezTo>
                      <a:pt x="65266" y="0"/>
                      <a:pt x="77956" y="3607"/>
                      <a:pt x="87021" y="12624"/>
                    </a:cubicBezTo>
                    <a:cubicBezTo>
                      <a:pt x="96085" y="21642"/>
                      <a:pt x="99711" y="32462"/>
                      <a:pt x="99711" y="45087"/>
                    </a:cubicBezTo>
                    <a:cubicBezTo>
                      <a:pt x="99711" y="55907"/>
                      <a:pt x="96085" y="64925"/>
                      <a:pt x="90646" y="73942"/>
                    </a:cubicBezTo>
                    <a:cubicBezTo>
                      <a:pt x="83395" y="81156"/>
                      <a:pt x="74330" y="86566"/>
                      <a:pt x="61639" y="88370"/>
                    </a:cubicBezTo>
                    <a:lnTo>
                      <a:pt x="101524" y="153294"/>
                    </a:lnTo>
                    <a:lnTo>
                      <a:pt x="83395" y="153294"/>
                    </a:lnTo>
                    <a:close/>
                    <a:moveTo>
                      <a:pt x="16316" y="75745"/>
                    </a:moveTo>
                    <a:lnTo>
                      <a:pt x="47136" y="75745"/>
                    </a:lnTo>
                    <a:cubicBezTo>
                      <a:pt x="59827" y="75745"/>
                      <a:pt x="68891" y="72139"/>
                      <a:pt x="74330" y="66728"/>
                    </a:cubicBezTo>
                    <a:cubicBezTo>
                      <a:pt x="79769" y="61318"/>
                      <a:pt x="83395" y="52300"/>
                      <a:pt x="83395" y="43283"/>
                    </a:cubicBezTo>
                    <a:cubicBezTo>
                      <a:pt x="83395" y="32462"/>
                      <a:pt x="79769" y="25248"/>
                      <a:pt x="74330" y="19838"/>
                    </a:cubicBezTo>
                    <a:cubicBezTo>
                      <a:pt x="68891" y="14428"/>
                      <a:pt x="59827" y="10821"/>
                      <a:pt x="47136" y="10821"/>
                    </a:cubicBezTo>
                    <a:lnTo>
                      <a:pt x="16316" y="10821"/>
                    </a:lnTo>
                    <a:lnTo>
                      <a:pt x="16316" y="75745"/>
                    </a:lnTo>
                    <a:close/>
                  </a:path>
                </a:pathLst>
              </a:custGeom>
              <a:solidFill>
                <a:srgbClr val="224F70"/>
              </a:solidFill>
              <a:ln w="18105" cap="flat">
                <a:noFill/>
                <a:prstDash val="solid"/>
                <a:miter/>
              </a:ln>
            </p:spPr>
            <p:txBody>
              <a:bodyPr rtlCol="0" anchor="ctr"/>
              <a:lstStyle/>
              <a:p>
                <a:endParaRPr lang="en-US"/>
              </a:p>
            </p:txBody>
          </p:sp>
          <p:sp>
            <p:nvSpPr>
              <p:cNvPr id="27" name="Forma libre 39">
                <a:extLst>
                  <a:ext uri="{FF2B5EF4-FFF2-40B4-BE49-F238E27FC236}">
                    <a16:creationId xmlns:a16="http://schemas.microsoft.com/office/drawing/2014/main" id="{E0A7E332-134B-AA40-AD8E-D478B77D2261}"/>
                  </a:ext>
                </a:extLst>
              </p:cNvPr>
              <p:cNvSpPr/>
              <p:nvPr/>
            </p:nvSpPr>
            <p:spPr>
              <a:xfrm>
                <a:off x="4082125" y="3387082"/>
                <a:ext cx="16316" cy="153294"/>
              </a:xfrm>
              <a:custGeom>
                <a:avLst/>
                <a:gdLst>
                  <a:gd name="connsiteX0" fmla="*/ 0 w 16316"/>
                  <a:gd name="connsiteY0" fmla="*/ 0 h 153294"/>
                  <a:gd name="connsiteX1" fmla="*/ 16316 w 16316"/>
                  <a:gd name="connsiteY1" fmla="*/ 0 h 153294"/>
                  <a:gd name="connsiteX2" fmla="*/ 16316 w 16316"/>
                  <a:gd name="connsiteY2" fmla="*/ 153294 h 153294"/>
                  <a:gd name="connsiteX3" fmla="*/ 0 w 16316"/>
                  <a:gd name="connsiteY3" fmla="*/ 153294 h 153294"/>
                </a:gdLst>
                <a:ahLst/>
                <a:cxnLst>
                  <a:cxn ang="0">
                    <a:pos x="connsiteX0" y="connsiteY0"/>
                  </a:cxn>
                  <a:cxn ang="0">
                    <a:pos x="connsiteX1" y="connsiteY1"/>
                  </a:cxn>
                  <a:cxn ang="0">
                    <a:pos x="connsiteX2" y="connsiteY2"/>
                  </a:cxn>
                  <a:cxn ang="0">
                    <a:pos x="connsiteX3" y="connsiteY3"/>
                  </a:cxn>
                </a:cxnLst>
                <a:rect l="l" t="t" r="r" b="b"/>
                <a:pathLst>
                  <a:path w="16316" h="153294">
                    <a:moveTo>
                      <a:pt x="0" y="0"/>
                    </a:moveTo>
                    <a:lnTo>
                      <a:pt x="16316" y="0"/>
                    </a:lnTo>
                    <a:lnTo>
                      <a:pt x="16316" y="153294"/>
                    </a:lnTo>
                    <a:lnTo>
                      <a:pt x="0" y="153294"/>
                    </a:lnTo>
                    <a:close/>
                  </a:path>
                </a:pathLst>
              </a:custGeom>
              <a:solidFill>
                <a:srgbClr val="224F70"/>
              </a:solidFill>
              <a:ln w="18105" cap="flat">
                <a:noFill/>
                <a:prstDash val="solid"/>
                <a:miter/>
              </a:ln>
            </p:spPr>
            <p:txBody>
              <a:bodyPr rtlCol="0" anchor="ctr"/>
              <a:lstStyle/>
              <a:p>
                <a:endParaRPr lang="en-US"/>
              </a:p>
            </p:txBody>
          </p:sp>
          <p:sp>
            <p:nvSpPr>
              <p:cNvPr id="28" name="Forma libre 40">
                <a:extLst>
                  <a:ext uri="{FF2B5EF4-FFF2-40B4-BE49-F238E27FC236}">
                    <a16:creationId xmlns:a16="http://schemas.microsoft.com/office/drawing/2014/main" id="{E2D7B9C7-F445-D644-8A60-458A6706C620}"/>
                  </a:ext>
                </a:extLst>
              </p:cNvPr>
              <p:cNvSpPr/>
              <p:nvPr/>
            </p:nvSpPr>
            <p:spPr>
              <a:xfrm>
                <a:off x="4230323" y="3387082"/>
                <a:ext cx="145496" cy="156901"/>
              </a:xfrm>
              <a:custGeom>
                <a:avLst/>
                <a:gdLst>
                  <a:gd name="connsiteX0" fmla="*/ 9527 w 145496"/>
                  <a:gd name="connsiteY0" fmla="*/ 37873 h 156901"/>
                  <a:gd name="connsiteX1" fmla="*/ 36721 w 145496"/>
                  <a:gd name="connsiteY1" fmla="*/ 10821 h 156901"/>
                  <a:gd name="connsiteX2" fmla="*/ 74792 w 145496"/>
                  <a:gd name="connsiteY2" fmla="*/ 0 h 156901"/>
                  <a:gd name="connsiteX3" fmla="*/ 118302 w 145496"/>
                  <a:gd name="connsiteY3" fmla="*/ 12624 h 156901"/>
                  <a:gd name="connsiteX4" fmla="*/ 145496 w 145496"/>
                  <a:gd name="connsiteY4" fmla="*/ 46890 h 156901"/>
                  <a:gd name="connsiteX5" fmla="*/ 127367 w 145496"/>
                  <a:gd name="connsiteY5" fmla="*/ 46890 h 156901"/>
                  <a:gd name="connsiteX6" fmla="*/ 107425 w 145496"/>
                  <a:gd name="connsiteY6" fmla="*/ 21642 h 156901"/>
                  <a:gd name="connsiteX7" fmla="*/ 74792 w 145496"/>
                  <a:gd name="connsiteY7" fmla="*/ 12624 h 156901"/>
                  <a:gd name="connsiteX8" fmla="*/ 43972 w 145496"/>
                  <a:gd name="connsiteY8" fmla="*/ 19838 h 156901"/>
                  <a:gd name="connsiteX9" fmla="*/ 22217 w 145496"/>
                  <a:gd name="connsiteY9" fmla="*/ 43283 h 156901"/>
                  <a:gd name="connsiteX10" fmla="*/ 14965 w 145496"/>
                  <a:gd name="connsiteY10" fmla="*/ 77549 h 156901"/>
                  <a:gd name="connsiteX11" fmla="*/ 22217 w 145496"/>
                  <a:gd name="connsiteY11" fmla="*/ 111815 h 156901"/>
                  <a:gd name="connsiteX12" fmla="*/ 43972 w 145496"/>
                  <a:gd name="connsiteY12" fmla="*/ 135260 h 156901"/>
                  <a:gd name="connsiteX13" fmla="*/ 74792 w 145496"/>
                  <a:gd name="connsiteY13" fmla="*/ 142474 h 156901"/>
                  <a:gd name="connsiteX14" fmla="*/ 107425 w 145496"/>
                  <a:gd name="connsiteY14" fmla="*/ 133456 h 156901"/>
                  <a:gd name="connsiteX15" fmla="*/ 127367 w 145496"/>
                  <a:gd name="connsiteY15" fmla="*/ 110011 h 156901"/>
                  <a:gd name="connsiteX16" fmla="*/ 145496 w 145496"/>
                  <a:gd name="connsiteY16" fmla="*/ 110011 h 156901"/>
                  <a:gd name="connsiteX17" fmla="*/ 118302 w 145496"/>
                  <a:gd name="connsiteY17" fmla="*/ 144277 h 156901"/>
                  <a:gd name="connsiteX18" fmla="*/ 74792 w 145496"/>
                  <a:gd name="connsiteY18" fmla="*/ 156901 h 156901"/>
                  <a:gd name="connsiteX19" fmla="*/ 36721 w 145496"/>
                  <a:gd name="connsiteY19" fmla="*/ 146081 h 156901"/>
                  <a:gd name="connsiteX20" fmla="*/ 9527 w 145496"/>
                  <a:gd name="connsiteY20" fmla="*/ 119029 h 156901"/>
                  <a:gd name="connsiteX21" fmla="*/ 462 w 145496"/>
                  <a:gd name="connsiteY21" fmla="*/ 79352 h 156901"/>
                  <a:gd name="connsiteX22" fmla="*/ 9527 w 145496"/>
                  <a:gd name="connsiteY22" fmla="*/ 37873 h 15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496" h="156901">
                    <a:moveTo>
                      <a:pt x="9527" y="37873"/>
                    </a:moveTo>
                    <a:cubicBezTo>
                      <a:pt x="16778" y="25249"/>
                      <a:pt x="25843" y="16231"/>
                      <a:pt x="36721" y="10821"/>
                    </a:cubicBezTo>
                    <a:cubicBezTo>
                      <a:pt x="47598" y="3607"/>
                      <a:pt x="60289" y="0"/>
                      <a:pt x="74792" y="0"/>
                    </a:cubicBezTo>
                    <a:cubicBezTo>
                      <a:pt x="92921" y="0"/>
                      <a:pt x="107425" y="3607"/>
                      <a:pt x="118302" y="12624"/>
                    </a:cubicBezTo>
                    <a:cubicBezTo>
                      <a:pt x="130993" y="21642"/>
                      <a:pt x="140057" y="32462"/>
                      <a:pt x="145496" y="46890"/>
                    </a:cubicBezTo>
                    <a:lnTo>
                      <a:pt x="127367" y="46890"/>
                    </a:lnTo>
                    <a:cubicBezTo>
                      <a:pt x="123741" y="36069"/>
                      <a:pt x="116490" y="28855"/>
                      <a:pt x="107425" y="21642"/>
                    </a:cubicBezTo>
                    <a:cubicBezTo>
                      <a:pt x="98360" y="16231"/>
                      <a:pt x="87483" y="12624"/>
                      <a:pt x="74792" y="12624"/>
                    </a:cubicBezTo>
                    <a:cubicBezTo>
                      <a:pt x="63914" y="12624"/>
                      <a:pt x="53037" y="14428"/>
                      <a:pt x="43972" y="19838"/>
                    </a:cubicBezTo>
                    <a:cubicBezTo>
                      <a:pt x="34908" y="25249"/>
                      <a:pt x="27656" y="32462"/>
                      <a:pt x="22217" y="43283"/>
                    </a:cubicBezTo>
                    <a:cubicBezTo>
                      <a:pt x="16778" y="52300"/>
                      <a:pt x="14965" y="64925"/>
                      <a:pt x="14965" y="77549"/>
                    </a:cubicBezTo>
                    <a:cubicBezTo>
                      <a:pt x="14965" y="90173"/>
                      <a:pt x="16778" y="102797"/>
                      <a:pt x="22217" y="111815"/>
                    </a:cubicBezTo>
                    <a:cubicBezTo>
                      <a:pt x="27656" y="120832"/>
                      <a:pt x="34908" y="129849"/>
                      <a:pt x="43972" y="135260"/>
                    </a:cubicBezTo>
                    <a:cubicBezTo>
                      <a:pt x="53037" y="140670"/>
                      <a:pt x="63914" y="142474"/>
                      <a:pt x="74792" y="142474"/>
                    </a:cubicBezTo>
                    <a:cubicBezTo>
                      <a:pt x="87483" y="142474"/>
                      <a:pt x="98360" y="138867"/>
                      <a:pt x="107425" y="133456"/>
                    </a:cubicBezTo>
                    <a:cubicBezTo>
                      <a:pt x="116490" y="128046"/>
                      <a:pt x="123741" y="119029"/>
                      <a:pt x="127367" y="110011"/>
                    </a:cubicBezTo>
                    <a:lnTo>
                      <a:pt x="145496" y="110011"/>
                    </a:lnTo>
                    <a:cubicBezTo>
                      <a:pt x="140057" y="124439"/>
                      <a:pt x="130993" y="135260"/>
                      <a:pt x="118302" y="144277"/>
                    </a:cubicBezTo>
                    <a:cubicBezTo>
                      <a:pt x="105612" y="151491"/>
                      <a:pt x="91108" y="156901"/>
                      <a:pt x="74792" y="156901"/>
                    </a:cubicBezTo>
                    <a:cubicBezTo>
                      <a:pt x="60289" y="156901"/>
                      <a:pt x="47598" y="153295"/>
                      <a:pt x="36721" y="146081"/>
                    </a:cubicBezTo>
                    <a:cubicBezTo>
                      <a:pt x="25843" y="138867"/>
                      <a:pt x="16778" y="129849"/>
                      <a:pt x="9527" y="119029"/>
                    </a:cubicBezTo>
                    <a:cubicBezTo>
                      <a:pt x="2275" y="106404"/>
                      <a:pt x="462" y="93780"/>
                      <a:pt x="462" y="79352"/>
                    </a:cubicBezTo>
                    <a:cubicBezTo>
                      <a:pt x="-1351" y="63121"/>
                      <a:pt x="2275" y="48694"/>
                      <a:pt x="9527" y="37873"/>
                    </a:cubicBezTo>
                  </a:path>
                </a:pathLst>
              </a:custGeom>
              <a:solidFill>
                <a:srgbClr val="224F70"/>
              </a:solidFill>
              <a:ln w="18105" cap="flat">
                <a:noFill/>
                <a:prstDash val="solid"/>
                <a:miter/>
              </a:ln>
            </p:spPr>
            <p:txBody>
              <a:bodyPr rtlCol="0" anchor="ctr"/>
              <a:lstStyle/>
              <a:p>
                <a:endParaRPr lang="en-US"/>
              </a:p>
            </p:txBody>
          </p:sp>
          <p:sp>
            <p:nvSpPr>
              <p:cNvPr id="29" name="Forma libre 41">
                <a:extLst>
                  <a:ext uri="{FF2B5EF4-FFF2-40B4-BE49-F238E27FC236}">
                    <a16:creationId xmlns:a16="http://schemas.microsoft.com/office/drawing/2014/main" id="{0FC2C369-8F9A-974B-8FAC-15F11B23FE8C}"/>
                  </a:ext>
                </a:extLst>
              </p:cNvPr>
              <p:cNvSpPr/>
              <p:nvPr/>
            </p:nvSpPr>
            <p:spPr>
              <a:xfrm>
                <a:off x="4500912" y="3388885"/>
                <a:ext cx="130530" cy="151490"/>
              </a:xfrm>
              <a:custGeom>
                <a:avLst/>
                <a:gdLst>
                  <a:gd name="connsiteX0" fmla="*/ 99711 w 130530"/>
                  <a:gd name="connsiteY0" fmla="*/ 115422 h 151490"/>
                  <a:gd name="connsiteX1" fmla="*/ 29007 w 130530"/>
                  <a:gd name="connsiteY1" fmla="*/ 115422 h 151490"/>
                  <a:gd name="connsiteX2" fmla="*/ 16316 w 130530"/>
                  <a:gd name="connsiteY2" fmla="*/ 151491 h 151490"/>
                  <a:gd name="connsiteX3" fmla="*/ 0 w 130530"/>
                  <a:gd name="connsiteY3" fmla="*/ 151491 h 151490"/>
                  <a:gd name="connsiteX4" fmla="*/ 56201 w 130530"/>
                  <a:gd name="connsiteY4" fmla="*/ 0 h 151490"/>
                  <a:gd name="connsiteX5" fmla="*/ 74330 w 130530"/>
                  <a:gd name="connsiteY5" fmla="*/ 0 h 151490"/>
                  <a:gd name="connsiteX6" fmla="*/ 130531 w 130530"/>
                  <a:gd name="connsiteY6" fmla="*/ 151491 h 151490"/>
                  <a:gd name="connsiteX7" fmla="*/ 114214 w 130530"/>
                  <a:gd name="connsiteY7" fmla="*/ 151491 h 151490"/>
                  <a:gd name="connsiteX8" fmla="*/ 99711 w 130530"/>
                  <a:gd name="connsiteY8" fmla="*/ 115422 h 151490"/>
                  <a:gd name="connsiteX9" fmla="*/ 94272 w 130530"/>
                  <a:gd name="connsiteY9" fmla="*/ 102797 h 151490"/>
                  <a:gd name="connsiteX10" fmla="*/ 63453 w 130530"/>
                  <a:gd name="connsiteY10" fmla="*/ 19838 h 151490"/>
                  <a:gd name="connsiteX11" fmla="*/ 32632 w 130530"/>
                  <a:gd name="connsiteY11" fmla="*/ 102797 h 151490"/>
                  <a:gd name="connsiteX12" fmla="*/ 94272 w 130530"/>
                  <a:gd name="connsiteY12" fmla="*/ 102797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530" h="151490">
                    <a:moveTo>
                      <a:pt x="99711" y="115422"/>
                    </a:moveTo>
                    <a:lnTo>
                      <a:pt x="29007" y="115422"/>
                    </a:lnTo>
                    <a:lnTo>
                      <a:pt x="16316" y="151491"/>
                    </a:lnTo>
                    <a:lnTo>
                      <a:pt x="0" y="151491"/>
                    </a:lnTo>
                    <a:lnTo>
                      <a:pt x="56201" y="0"/>
                    </a:lnTo>
                    <a:lnTo>
                      <a:pt x="74330" y="0"/>
                    </a:lnTo>
                    <a:lnTo>
                      <a:pt x="130531" y="151491"/>
                    </a:lnTo>
                    <a:lnTo>
                      <a:pt x="114214" y="151491"/>
                    </a:lnTo>
                    <a:lnTo>
                      <a:pt x="99711" y="115422"/>
                    </a:lnTo>
                    <a:close/>
                    <a:moveTo>
                      <a:pt x="94272" y="102797"/>
                    </a:moveTo>
                    <a:lnTo>
                      <a:pt x="63453" y="19838"/>
                    </a:lnTo>
                    <a:lnTo>
                      <a:pt x="32632" y="102797"/>
                    </a:lnTo>
                    <a:lnTo>
                      <a:pt x="94272" y="102797"/>
                    </a:lnTo>
                    <a:close/>
                  </a:path>
                </a:pathLst>
              </a:custGeom>
              <a:solidFill>
                <a:srgbClr val="224F70"/>
              </a:solidFill>
              <a:ln w="18105" cap="flat">
                <a:noFill/>
                <a:prstDash val="solid"/>
                <a:miter/>
              </a:ln>
            </p:spPr>
            <p:txBody>
              <a:bodyPr rtlCol="0" anchor="ctr"/>
              <a:lstStyle/>
              <a:p>
                <a:endParaRPr lang="en-US"/>
              </a:p>
            </p:txBody>
          </p:sp>
          <p:sp>
            <p:nvSpPr>
              <p:cNvPr id="30" name="Forma libre 42">
                <a:extLst>
                  <a:ext uri="{FF2B5EF4-FFF2-40B4-BE49-F238E27FC236}">
                    <a16:creationId xmlns:a16="http://schemas.microsoft.com/office/drawing/2014/main" id="{7F7549C3-A5AD-524A-BDD6-AB9A1B8D2411}"/>
                  </a:ext>
                </a:extLst>
              </p:cNvPr>
              <p:cNvSpPr/>
              <p:nvPr/>
            </p:nvSpPr>
            <p:spPr>
              <a:xfrm>
                <a:off x="1752512" y="2743245"/>
                <a:ext cx="547504" cy="515790"/>
              </a:xfrm>
              <a:custGeom>
                <a:avLst/>
                <a:gdLst>
                  <a:gd name="connsiteX0" fmla="*/ 426038 w 547504"/>
                  <a:gd name="connsiteY0" fmla="*/ 515791 h 515790"/>
                  <a:gd name="connsiteX1" fmla="*/ 378902 w 547504"/>
                  <a:gd name="connsiteY1" fmla="*/ 400369 h 515790"/>
                  <a:gd name="connsiteX2" fmla="*/ 161351 w 547504"/>
                  <a:gd name="connsiteY2" fmla="*/ 400369 h 515790"/>
                  <a:gd name="connsiteX3" fmla="*/ 114215 w 547504"/>
                  <a:gd name="connsiteY3" fmla="*/ 515791 h 515790"/>
                  <a:gd name="connsiteX4" fmla="*/ 0 w 547504"/>
                  <a:gd name="connsiteY4" fmla="*/ 515791 h 515790"/>
                  <a:gd name="connsiteX5" fmla="*/ 221177 w 547504"/>
                  <a:gd name="connsiteY5" fmla="*/ 0 h 515790"/>
                  <a:gd name="connsiteX6" fmla="*/ 326327 w 547504"/>
                  <a:gd name="connsiteY6" fmla="*/ 0 h 515790"/>
                  <a:gd name="connsiteX7" fmla="*/ 547504 w 547504"/>
                  <a:gd name="connsiteY7" fmla="*/ 515791 h 515790"/>
                  <a:gd name="connsiteX8" fmla="*/ 426038 w 547504"/>
                  <a:gd name="connsiteY8" fmla="*/ 515791 h 515790"/>
                  <a:gd name="connsiteX9" fmla="*/ 270126 w 547504"/>
                  <a:gd name="connsiteY9" fmla="*/ 137063 h 515790"/>
                  <a:gd name="connsiteX10" fmla="*/ 201235 w 547504"/>
                  <a:gd name="connsiteY10" fmla="*/ 302982 h 515790"/>
                  <a:gd name="connsiteX11" fmla="*/ 337205 w 547504"/>
                  <a:gd name="connsiteY11" fmla="*/ 302982 h 515790"/>
                  <a:gd name="connsiteX12" fmla="*/ 270126 w 547504"/>
                  <a:gd name="connsiteY12" fmla="*/ 137063 h 51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504" h="515790">
                    <a:moveTo>
                      <a:pt x="426038" y="515791"/>
                    </a:moveTo>
                    <a:lnTo>
                      <a:pt x="378902" y="400369"/>
                    </a:lnTo>
                    <a:lnTo>
                      <a:pt x="161351" y="400369"/>
                    </a:lnTo>
                    <a:lnTo>
                      <a:pt x="114215" y="515791"/>
                    </a:lnTo>
                    <a:lnTo>
                      <a:pt x="0" y="515791"/>
                    </a:lnTo>
                    <a:lnTo>
                      <a:pt x="221177" y="0"/>
                    </a:lnTo>
                    <a:lnTo>
                      <a:pt x="326327" y="0"/>
                    </a:lnTo>
                    <a:lnTo>
                      <a:pt x="547504" y="515791"/>
                    </a:lnTo>
                    <a:lnTo>
                      <a:pt x="426038" y="515791"/>
                    </a:lnTo>
                    <a:close/>
                    <a:moveTo>
                      <a:pt x="270126" y="137063"/>
                    </a:moveTo>
                    <a:lnTo>
                      <a:pt x="201235" y="302982"/>
                    </a:lnTo>
                    <a:lnTo>
                      <a:pt x="337205" y="302982"/>
                    </a:lnTo>
                    <a:lnTo>
                      <a:pt x="270126" y="137063"/>
                    </a:lnTo>
                    <a:close/>
                  </a:path>
                </a:pathLst>
              </a:custGeom>
              <a:solidFill>
                <a:srgbClr val="232E47"/>
              </a:solidFill>
              <a:ln w="18105" cap="flat">
                <a:noFill/>
                <a:prstDash val="solid"/>
                <a:miter/>
              </a:ln>
            </p:spPr>
            <p:txBody>
              <a:bodyPr rtlCol="0" anchor="ctr"/>
              <a:lstStyle/>
              <a:p>
                <a:endParaRPr lang="en-US"/>
              </a:p>
            </p:txBody>
          </p:sp>
          <p:sp>
            <p:nvSpPr>
              <p:cNvPr id="31" name="Forma libre 43">
                <a:extLst>
                  <a:ext uri="{FF2B5EF4-FFF2-40B4-BE49-F238E27FC236}">
                    <a16:creationId xmlns:a16="http://schemas.microsoft.com/office/drawing/2014/main" id="{BC710292-12B5-3040-8FDF-5843AC452049}"/>
                  </a:ext>
                </a:extLst>
              </p:cNvPr>
              <p:cNvSpPr/>
              <p:nvPr/>
            </p:nvSpPr>
            <p:spPr>
              <a:xfrm>
                <a:off x="2414231" y="2748655"/>
                <a:ext cx="455045" cy="510380"/>
              </a:xfrm>
              <a:custGeom>
                <a:avLst/>
                <a:gdLst>
                  <a:gd name="connsiteX0" fmla="*/ 358960 w 455045"/>
                  <a:gd name="connsiteY0" fmla="*/ 510380 h 510380"/>
                  <a:gd name="connsiteX1" fmla="*/ 110589 w 455045"/>
                  <a:gd name="connsiteY1" fmla="*/ 185757 h 510380"/>
                  <a:gd name="connsiteX2" fmla="*/ 110589 w 455045"/>
                  <a:gd name="connsiteY2" fmla="*/ 510380 h 510380"/>
                  <a:gd name="connsiteX3" fmla="*/ 0 w 455045"/>
                  <a:gd name="connsiteY3" fmla="*/ 510380 h 510380"/>
                  <a:gd name="connsiteX4" fmla="*/ 0 w 455045"/>
                  <a:gd name="connsiteY4" fmla="*/ 0 h 510380"/>
                  <a:gd name="connsiteX5" fmla="*/ 103337 w 455045"/>
                  <a:gd name="connsiteY5" fmla="*/ 0 h 510380"/>
                  <a:gd name="connsiteX6" fmla="*/ 344456 w 455045"/>
                  <a:gd name="connsiteY6" fmla="*/ 313803 h 510380"/>
                  <a:gd name="connsiteX7" fmla="*/ 344456 w 455045"/>
                  <a:gd name="connsiteY7" fmla="*/ 0 h 510380"/>
                  <a:gd name="connsiteX8" fmla="*/ 455045 w 455045"/>
                  <a:gd name="connsiteY8" fmla="*/ 0 h 510380"/>
                  <a:gd name="connsiteX9" fmla="*/ 455045 w 455045"/>
                  <a:gd name="connsiteY9" fmla="*/ 510380 h 51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045" h="510380">
                    <a:moveTo>
                      <a:pt x="358960" y="510380"/>
                    </a:moveTo>
                    <a:lnTo>
                      <a:pt x="110589" y="185757"/>
                    </a:lnTo>
                    <a:lnTo>
                      <a:pt x="110589" y="510380"/>
                    </a:lnTo>
                    <a:lnTo>
                      <a:pt x="0" y="510380"/>
                    </a:lnTo>
                    <a:lnTo>
                      <a:pt x="0" y="0"/>
                    </a:lnTo>
                    <a:lnTo>
                      <a:pt x="103337" y="0"/>
                    </a:lnTo>
                    <a:lnTo>
                      <a:pt x="344456" y="313803"/>
                    </a:lnTo>
                    <a:lnTo>
                      <a:pt x="344456" y="0"/>
                    </a:lnTo>
                    <a:lnTo>
                      <a:pt x="455045" y="0"/>
                    </a:lnTo>
                    <a:lnTo>
                      <a:pt x="455045" y="510380"/>
                    </a:lnTo>
                    <a:close/>
                  </a:path>
                </a:pathLst>
              </a:custGeom>
              <a:solidFill>
                <a:srgbClr val="232E47"/>
              </a:solidFill>
              <a:ln w="18105" cap="flat">
                <a:noFill/>
                <a:prstDash val="solid"/>
                <a:miter/>
              </a:ln>
            </p:spPr>
            <p:txBody>
              <a:bodyPr rtlCol="0" anchor="ctr"/>
              <a:lstStyle/>
              <a:p>
                <a:endParaRPr lang="en-US"/>
              </a:p>
            </p:txBody>
          </p:sp>
          <p:sp>
            <p:nvSpPr>
              <p:cNvPr id="32" name="Forma libre 44">
                <a:extLst>
                  <a:ext uri="{FF2B5EF4-FFF2-40B4-BE49-F238E27FC236}">
                    <a16:creationId xmlns:a16="http://schemas.microsoft.com/office/drawing/2014/main" id="{CAC147C3-0776-3140-90E8-AA0C35B4BBF3}"/>
                  </a:ext>
                </a:extLst>
              </p:cNvPr>
              <p:cNvSpPr/>
              <p:nvPr/>
            </p:nvSpPr>
            <p:spPr>
              <a:xfrm>
                <a:off x="3030626" y="2748655"/>
                <a:ext cx="467735" cy="510380"/>
              </a:xfrm>
              <a:custGeom>
                <a:avLst/>
                <a:gdLst>
                  <a:gd name="connsiteX0" fmla="*/ 331766 w 467735"/>
                  <a:gd name="connsiteY0" fmla="*/ 510380 h 510380"/>
                  <a:gd name="connsiteX1" fmla="*/ 172228 w 467735"/>
                  <a:gd name="connsiteY1" fmla="*/ 293965 h 510380"/>
                  <a:gd name="connsiteX2" fmla="*/ 112402 w 467735"/>
                  <a:gd name="connsiteY2" fmla="*/ 355282 h 510380"/>
                  <a:gd name="connsiteX3" fmla="*/ 112402 w 467735"/>
                  <a:gd name="connsiteY3" fmla="*/ 510380 h 510380"/>
                  <a:gd name="connsiteX4" fmla="*/ 0 w 467735"/>
                  <a:gd name="connsiteY4" fmla="*/ 510380 h 510380"/>
                  <a:gd name="connsiteX5" fmla="*/ 0 w 467735"/>
                  <a:gd name="connsiteY5" fmla="*/ 0 h 510380"/>
                  <a:gd name="connsiteX6" fmla="*/ 112402 w 467735"/>
                  <a:gd name="connsiteY6" fmla="*/ 0 h 510380"/>
                  <a:gd name="connsiteX7" fmla="*/ 112402 w 467735"/>
                  <a:gd name="connsiteY7" fmla="*/ 223630 h 510380"/>
                  <a:gd name="connsiteX8" fmla="*/ 320888 w 467735"/>
                  <a:gd name="connsiteY8" fmla="*/ 0 h 510380"/>
                  <a:gd name="connsiteX9" fmla="*/ 458671 w 467735"/>
                  <a:gd name="connsiteY9" fmla="*/ 0 h 510380"/>
                  <a:gd name="connsiteX10" fmla="*/ 248371 w 467735"/>
                  <a:gd name="connsiteY10" fmla="*/ 216416 h 510380"/>
                  <a:gd name="connsiteX11" fmla="*/ 467736 w 467735"/>
                  <a:gd name="connsiteY11" fmla="*/ 510380 h 51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7735" h="510380">
                    <a:moveTo>
                      <a:pt x="331766" y="510380"/>
                    </a:moveTo>
                    <a:lnTo>
                      <a:pt x="172228" y="293965"/>
                    </a:lnTo>
                    <a:lnTo>
                      <a:pt x="112402" y="355282"/>
                    </a:lnTo>
                    <a:lnTo>
                      <a:pt x="112402" y="510380"/>
                    </a:lnTo>
                    <a:lnTo>
                      <a:pt x="0" y="510380"/>
                    </a:lnTo>
                    <a:lnTo>
                      <a:pt x="0" y="0"/>
                    </a:lnTo>
                    <a:lnTo>
                      <a:pt x="112402" y="0"/>
                    </a:lnTo>
                    <a:lnTo>
                      <a:pt x="112402" y="223630"/>
                    </a:lnTo>
                    <a:lnTo>
                      <a:pt x="320888" y="0"/>
                    </a:lnTo>
                    <a:lnTo>
                      <a:pt x="458671" y="0"/>
                    </a:lnTo>
                    <a:lnTo>
                      <a:pt x="248371" y="216416"/>
                    </a:lnTo>
                    <a:lnTo>
                      <a:pt x="467736" y="510380"/>
                    </a:lnTo>
                    <a:close/>
                  </a:path>
                </a:pathLst>
              </a:custGeom>
              <a:solidFill>
                <a:srgbClr val="232E47"/>
              </a:solidFill>
              <a:ln w="18105" cap="flat">
                <a:noFill/>
                <a:prstDash val="solid"/>
                <a:miter/>
              </a:ln>
            </p:spPr>
            <p:txBody>
              <a:bodyPr rtlCol="0" anchor="ctr"/>
              <a:lstStyle/>
              <a:p>
                <a:endParaRPr lang="en-US"/>
              </a:p>
            </p:txBody>
          </p:sp>
          <p:sp>
            <p:nvSpPr>
              <p:cNvPr id="33" name="Forma libre 45">
                <a:extLst>
                  <a:ext uri="{FF2B5EF4-FFF2-40B4-BE49-F238E27FC236}">
                    <a16:creationId xmlns:a16="http://schemas.microsoft.com/office/drawing/2014/main" id="{30965110-F41B-594F-A4C0-C1B801D2874E}"/>
                  </a:ext>
                </a:extLst>
              </p:cNvPr>
              <p:cNvSpPr/>
              <p:nvPr/>
            </p:nvSpPr>
            <p:spPr>
              <a:xfrm>
                <a:off x="3603512" y="2748655"/>
                <a:ext cx="389779" cy="510380"/>
              </a:xfrm>
              <a:custGeom>
                <a:avLst/>
                <a:gdLst>
                  <a:gd name="connsiteX0" fmla="*/ 0 w 389779"/>
                  <a:gd name="connsiteY0" fmla="*/ 510380 h 510380"/>
                  <a:gd name="connsiteX1" fmla="*/ 0 w 389779"/>
                  <a:gd name="connsiteY1" fmla="*/ 0 h 510380"/>
                  <a:gd name="connsiteX2" fmla="*/ 386154 w 389779"/>
                  <a:gd name="connsiteY2" fmla="*/ 0 h 510380"/>
                  <a:gd name="connsiteX3" fmla="*/ 386154 w 389779"/>
                  <a:gd name="connsiteY3" fmla="*/ 99191 h 510380"/>
                  <a:gd name="connsiteX4" fmla="*/ 110588 w 389779"/>
                  <a:gd name="connsiteY4" fmla="*/ 99191 h 510380"/>
                  <a:gd name="connsiteX5" fmla="*/ 110588 w 389779"/>
                  <a:gd name="connsiteY5" fmla="*/ 203791 h 510380"/>
                  <a:gd name="connsiteX6" fmla="*/ 353521 w 389779"/>
                  <a:gd name="connsiteY6" fmla="*/ 203791 h 510380"/>
                  <a:gd name="connsiteX7" fmla="*/ 353521 w 389779"/>
                  <a:gd name="connsiteY7" fmla="*/ 302982 h 510380"/>
                  <a:gd name="connsiteX8" fmla="*/ 110588 w 389779"/>
                  <a:gd name="connsiteY8" fmla="*/ 302982 h 510380"/>
                  <a:gd name="connsiteX9" fmla="*/ 110588 w 389779"/>
                  <a:gd name="connsiteY9" fmla="*/ 411190 h 510380"/>
                  <a:gd name="connsiteX10" fmla="*/ 389780 w 389779"/>
                  <a:gd name="connsiteY10" fmla="*/ 411190 h 510380"/>
                  <a:gd name="connsiteX11" fmla="*/ 389780 w 389779"/>
                  <a:gd name="connsiteY11" fmla="*/ 510380 h 51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9779" h="510380">
                    <a:moveTo>
                      <a:pt x="0" y="510380"/>
                    </a:moveTo>
                    <a:lnTo>
                      <a:pt x="0" y="0"/>
                    </a:lnTo>
                    <a:lnTo>
                      <a:pt x="386154" y="0"/>
                    </a:lnTo>
                    <a:lnTo>
                      <a:pt x="386154" y="99191"/>
                    </a:lnTo>
                    <a:lnTo>
                      <a:pt x="110588" y="99191"/>
                    </a:lnTo>
                    <a:lnTo>
                      <a:pt x="110588" y="203791"/>
                    </a:lnTo>
                    <a:lnTo>
                      <a:pt x="353521" y="203791"/>
                    </a:lnTo>
                    <a:lnTo>
                      <a:pt x="353521" y="302982"/>
                    </a:lnTo>
                    <a:lnTo>
                      <a:pt x="110588" y="302982"/>
                    </a:lnTo>
                    <a:lnTo>
                      <a:pt x="110588" y="411190"/>
                    </a:lnTo>
                    <a:lnTo>
                      <a:pt x="389780" y="411190"/>
                    </a:lnTo>
                    <a:lnTo>
                      <a:pt x="389780" y="510380"/>
                    </a:lnTo>
                    <a:close/>
                  </a:path>
                </a:pathLst>
              </a:custGeom>
              <a:solidFill>
                <a:srgbClr val="232E47"/>
              </a:solidFill>
              <a:ln w="18105" cap="flat">
                <a:noFill/>
                <a:prstDash val="solid"/>
                <a:miter/>
              </a:ln>
            </p:spPr>
            <p:txBody>
              <a:bodyPr rtlCol="0" anchor="ctr"/>
              <a:lstStyle/>
              <a:p>
                <a:endParaRPr lang="en-US"/>
              </a:p>
            </p:txBody>
          </p:sp>
          <p:sp>
            <p:nvSpPr>
              <p:cNvPr id="34" name="Forma libre 46">
                <a:extLst>
                  <a:ext uri="{FF2B5EF4-FFF2-40B4-BE49-F238E27FC236}">
                    <a16:creationId xmlns:a16="http://schemas.microsoft.com/office/drawing/2014/main" id="{A5F5EED6-8C01-7645-9969-9B48F30612B1}"/>
                  </a:ext>
                </a:extLst>
              </p:cNvPr>
              <p:cNvSpPr/>
              <p:nvPr/>
            </p:nvSpPr>
            <p:spPr>
              <a:xfrm>
                <a:off x="4131074" y="2748655"/>
                <a:ext cx="444167" cy="512183"/>
              </a:xfrm>
              <a:custGeom>
                <a:avLst/>
                <a:gdLst>
                  <a:gd name="connsiteX0" fmla="*/ 311824 w 444167"/>
                  <a:gd name="connsiteY0" fmla="*/ 510380 h 512183"/>
                  <a:gd name="connsiteX1" fmla="*/ 201235 w 444167"/>
                  <a:gd name="connsiteY1" fmla="*/ 346265 h 512183"/>
                  <a:gd name="connsiteX2" fmla="*/ 112402 w 444167"/>
                  <a:gd name="connsiteY2" fmla="*/ 346265 h 512183"/>
                  <a:gd name="connsiteX3" fmla="*/ 112402 w 444167"/>
                  <a:gd name="connsiteY3" fmla="*/ 510380 h 512183"/>
                  <a:gd name="connsiteX4" fmla="*/ 0 w 444167"/>
                  <a:gd name="connsiteY4" fmla="*/ 510380 h 512183"/>
                  <a:gd name="connsiteX5" fmla="*/ 0 w 444167"/>
                  <a:gd name="connsiteY5" fmla="*/ 0 h 512183"/>
                  <a:gd name="connsiteX6" fmla="*/ 235681 w 444167"/>
                  <a:gd name="connsiteY6" fmla="*/ 0 h 512183"/>
                  <a:gd name="connsiteX7" fmla="*/ 378902 w 444167"/>
                  <a:gd name="connsiteY7" fmla="*/ 45087 h 512183"/>
                  <a:gd name="connsiteX8" fmla="*/ 429664 w 444167"/>
                  <a:gd name="connsiteY8" fmla="*/ 169526 h 512183"/>
                  <a:gd name="connsiteX9" fmla="*/ 429664 w 444167"/>
                  <a:gd name="connsiteY9" fmla="*/ 171329 h 512183"/>
                  <a:gd name="connsiteX10" fmla="*/ 398844 w 444167"/>
                  <a:gd name="connsiteY10" fmla="*/ 272323 h 512183"/>
                  <a:gd name="connsiteX11" fmla="*/ 319076 w 444167"/>
                  <a:gd name="connsiteY11" fmla="*/ 330034 h 512183"/>
                  <a:gd name="connsiteX12" fmla="*/ 444168 w 444167"/>
                  <a:gd name="connsiteY12" fmla="*/ 512184 h 512183"/>
                  <a:gd name="connsiteX13" fmla="*/ 311824 w 444167"/>
                  <a:gd name="connsiteY13" fmla="*/ 512184 h 512183"/>
                  <a:gd name="connsiteX14" fmla="*/ 315450 w 444167"/>
                  <a:gd name="connsiteY14" fmla="*/ 174936 h 512183"/>
                  <a:gd name="connsiteX15" fmla="*/ 291882 w 444167"/>
                  <a:gd name="connsiteY15" fmla="*/ 120832 h 512183"/>
                  <a:gd name="connsiteX16" fmla="*/ 226616 w 444167"/>
                  <a:gd name="connsiteY16" fmla="*/ 102797 h 512183"/>
                  <a:gd name="connsiteX17" fmla="*/ 114215 w 444167"/>
                  <a:gd name="connsiteY17" fmla="*/ 102797 h 512183"/>
                  <a:gd name="connsiteX18" fmla="*/ 114215 w 444167"/>
                  <a:gd name="connsiteY18" fmla="*/ 248878 h 512183"/>
                  <a:gd name="connsiteX19" fmla="*/ 228429 w 444167"/>
                  <a:gd name="connsiteY19" fmla="*/ 248878 h 512183"/>
                  <a:gd name="connsiteX20" fmla="*/ 291882 w 444167"/>
                  <a:gd name="connsiteY20" fmla="*/ 229040 h 512183"/>
                  <a:gd name="connsiteX21" fmla="*/ 315450 w 444167"/>
                  <a:gd name="connsiteY21" fmla="*/ 174936 h 512183"/>
                  <a:gd name="connsiteX22" fmla="*/ 315450 w 444167"/>
                  <a:gd name="connsiteY22" fmla="*/ 174936 h 51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4167" h="512183">
                    <a:moveTo>
                      <a:pt x="311824" y="510380"/>
                    </a:moveTo>
                    <a:lnTo>
                      <a:pt x="201235" y="346265"/>
                    </a:lnTo>
                    <a:lnTo>
                      <a:pt x="112402" y="346265"/>
                    </a:lnTo>
                    <a:lnTo>
                      <a:pt x="112402" y="510380"/>
                    </a:lnTo>
                    <a:lnTo>
                      <a:pt x="0" y="510380"/>
                    </a:lnTo>
                    <a:lnTo>
                      <a:pt x="0" y="0"/>
                    </a:lnTo>
                    <a:lnTo>
                      <a:pt x="235681" y="0"/>
                    </a:lnTo>
                    <a:cubicBezTo>
                      <a:pt x="297320" y="0"/>
                      <a:pt x="344456" y="14428"/>
                      <a:pt x="378902" y="45087"/>
                    </a:cubicBezTo>
                    <a:cubicBezTo>
                      <a:pt x="413348" y="73942"/>
                      <a:pt x="429664" y="115422"/>
                      <a:pt x="429664" y="169526"/>
                    </a:cubicBezTo>
                    <a:lnTo>
                      <a:pt x="429664" y="171329"/>
                    </a:lnTo>
                    <a:cubicBezTo>
                      <a:pt x="429664" y="212809"/>
                      <a:pt x="418787" y="247075"/>
                      <a:pt x="398844" y="272323"/>
                    </a:cubicBezTo>
                    <a:cubicBezTo>
                      <a:pt x="378902" y="297572"/>
                      <a:pt x="351708" y="317410"/>
                      <a:pt x="319076" y="330034"/>
                    </a:cubicBezTo>
                    <a:lnTo>
                      <a:pt x="444168" y="512184"/>
                    </a:lnTo>
                    <a:lnTo>
                      <a:pt x="311824" y="512184"/>
                    </a:lnTo>
                    <a:close/>
                    <a:moveTo>
                      <a:pt x="315450" y="174936"/>
                    </a:moveTo>
                    <a:cubicBezTo>
                      <a:pt x="315450" y="149688"/>
                      <a:pt x="308198" y="131653"/>
                      <a:pt x="291882" y="120832"/>
                    </a:cubicBezTo>
                    <a:cubicBezTo>
                      <a:pt x="275565" y="108208"/>
                      <a:pt x="253810" y="102797"/>
                      <a:pt x="226616" y="102797"/>
                    </a:cubicBezTo>
                    <a:lnTo>
                      <a:pt x="114215" y="102797"/>
                    </a:lnTo>
                    <a:lnTo>
                      <a:pt x="114215" y="248878"/>
                    </a:lnTo>
                    <a:lnTo>
                      <a:pt x="228429" y="248878"/>
                    </a:lnTo>
                    <a:cubicBezTo>
                      <a:pt x="255623" y="248878"/>
                      <a:pt x="277378" y="241664"/>
                      <a:pt x="291882" y="229040"/>
                    </a:cubicBezTo>
                    <a:cubicBezTo>
                      <a:pt x="308198" y="214612"/>
                      <a:pt x="315450" y="198381"/>
                      <a:pt x="315450" y="174936"/>
                    </a:cubicBezTo>
                    <a:lnTo>
                      <a:pt x="315450" y="174936"/>
                    </a:lnTo>
                    <a:close/>
                  </a:path>
                </a:pathLst>
              </a:custGeom>
              <a:solidFill>
                <a:srgbClr val="232E47"/>
              </a:solidFill>
              <a:ln w="18105" cap="flat">
                <a:noFill/>
                <a:prstDash val="solid"/>
                <a:miter/>
              </a:ln>
            </p:spPr>
            <p:txBody>
              <a:bodyPr rtlCol="0" anchor="ctr"/>
              <a:lstStyle/>
              <a:p>
                <a:endParaRPr lang="en-US"/>
              </a:p>
            </p:txBody>
          </p:sp>
        </p:grpSp>
      </p:grpSp>
      <p:cxnSp>
        <p:nvCxnSpPr>
          <p:cNvPr id="11" name="Conector recto 34">
            <a:extLst>
              <a:ext uri="{FF2B5EF4-FFF2-40B4-BE49-F238E27FC236}">
                <a16:creationId xmlns:a16="http://schemas.microsoft.com/office/drawing/2014/main" id="{F80F0951-2EBF-924C-8A2F-5EE125284EDD}"/>
              </a:ext>
            </a:extLst>
          </p:cNvPr>
          <p:cNvCxnSpPr>
            <a:cxnSpLocks/>
          </p:cNvCxnSpPr>
          <p:nvPr userDrawn="1"/>
        </p:nvCxnSpPr>
        <p:spPr>
          <a:xfrm>
            <a:off x="5458412" y="3834693"/>
            <a:ext cx="127517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8895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graphicFrame>
        <p:nvGraphicFramePr>
          <p:cNvPr id="73" name="Objeto 72" hidden="1">
            <a:extLst>
              <a:ext uri="{FF2B5EF4-FFF2-40B4-BE49-F238E27FC236}">
                <a16:creationId xmlns:a16="http://schemas.microsoft.com/office/drawing/2014/main" id="{9D9CF1EB-BAD6-6144-99F1-8567A0D6F798}"/>
              </a:ext>
            </a:extLst>
          </p:cNvPr>
          <p:cNvGraphicFramePr>
            <a:graphicFrameLocks noChangeAspect="1"/>
          </p:cNvGraphicFramePr>
          <p:nvPr userDrawn="1">
            <p:custDataLst>
              <p:tags r:id="rId1"/>
            </p:custDataLst>
            <p:extLst>
              <p:ext uri="{D42A27DB-BD31-4B8C-83A1-F6EECF244321}">
                <p14:modId xmlns:p14="http://schemas.microsoft.com/office/powerpoint/2010/main" val="3820472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3" name="Objeto 72" hidden="1">
                        <a:extLst>
                          <a:ext uri="{FF2B5EF4-FFF2-40B4-BE49-F238E27FC236}">
                            <a16:creationId xmlns:a16="http://schemas.microsoft.com/office/drawing/2014/main" id="{9D9CF1EB-BAD6-6144-99F1-8567A0D6F7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011A9DBA-78BF-4744-B55A-53F587888876}"/>
              </a:ext>
            </a:extLst>
          </p:cNvPr>
          <p:cNvSpPr>
            <a:spLocks noGrp="1"/>
          </p:cNvSpPr>
          <p:nvPr>
            <p:ph type="body" sz="quarter" idx="11" hasCustomPrompt="1"/>
          </p:nvPr>
        </p:nvSpPr>
        <p:spPr>
          <a:xfrm rot="16200000">
            <a:off x="10733875" y="955653"/>
            <a:ext cx="2068177" cy="461665"/>
          </a:xfrm>
          <a:noFill/>
        </p:spPr>
        <p:txBody>
          <a:bodyPr wrap="square" lIns="0" tIns="0" rIns="0" bIns="0" rtlCol="0" anchor="b">
            <a:noAutofit/>
          </a:bodyPr>
          <a:lstStyle>
            <a:lvl1pPr marL="0" indent="0" algn="r">
              <a:spcBef>
                <a:spcPts val="0"/>
              </a:spcBef>
              <a:spcAft>
                <a:spcPts val="0"/>
              </a:spcAft>
              <a:buNone/>
              <a:defRPr lang="en-US" sz="1200" cap="all" spc="300" baseline="0" dirty="0">
                <a:solidFill>
                  <a:schemeClr val="accent2"/>
                </a:solidFill>
                <a:cs typeface="+mn-cs"/>
              </a:defRPr>
            </a:lvl1pPr>
          </a:lstStyle>
          <a:p>
            <a:pPr marL="0" lvl="0"/>
            <a:r>
              <a:rPr lang="en-US" dirty="0"/>
              <a:t>date</a:t>
            </a:r>
          </a:p>
        </p:txBody>
      </p:sp>
      <p:sp>
        <p:nvSpPr>
          <p:cNvPr id="16" name="Date Placeholder 15">
            <a:extLst>
              <a:ext uri="{FF2B5EF4-FFF2-40B4-BE49-F238E27FC236}">
                <a16:creationId xmlns:a16="http://schemas.microsoft.com/office/drawing/2014/main" id="{4ACA094F-9478-4AB4-A03D-58418CE912D3}"/>
              </a:ext>
            </a:extLst>
          </p:cNvPr>
          <p:cNvSpPr>
            <a:spLocks noGrp="1"/>
          </p:cNvSpPr>
          <p:nvPr>
            <p:ph type="dt" sz="half" idx="13"/>
          </p:nvPr>
        </p:nvSpPr>
        <p:spPr>
          <a:xfrm>
            <a:off x="192088" y="6356350"/>
            <a:ext cx="4132268" cy="365125"/>
          </a:xfrm>
          <a:prstGeom prst="rect">
            <a:avLst/>
          </a:prstGeom>
        </p:spPr>
        <p:txBody>
          <a:bodyPr/>
          <a:lstStyle>
            <a:lvl1pPr>
              <a:defRPr>
                <a:latin typeface="+mn-lt"/>
              </a:defRPr>
            </a:lvl1pPr>
          </a:lstStyle>
          <a:p>
            <a:r>
              <a:rPr lang="en-US"/>
              <a:t>® ANKER Copyright 2022</a:t>
            </a:r>
            <a:endParaRPr lang="es-AR" dirty="0"/>
          </a:p>
        </p:txBody>
      </p:sp>
      <p:sp>
        <p:nvSpPr>
          <p:cNvPr id="17" name="Slide Number Placeholder 16">
            <a:extLst>
              <a:ext uri="{FF2B5EF4-FFF2-40B4-BE49-F238E27FC236}">
                <a16:creationId xmlns:a16="http://schemas.microsoft.com/office/drawing/2014/main" id="{1CEAA216-E541-4FAD-B57C-7D003159BA9D}"/>
              </a:ext>
            </a:extLst>
          </p:cNvPr>
          <p:cNvSpPr>
            <a:spLocks noGrp="1"/>
          </p:cNvSpPr>
          <p:nvPr>
            <p:ph type="sldNum" sz="quarter" idx="14"/>
          </p:nvPr>
        </p:nvSpPr>
        <p:spPr/>
        <p:txBody>
          <a:bodyPr/>
          <a:lstStyle>
            <a:lvl1pPr>
              <a:defRPr>
                <a:latin typeface="+mn-lt"/>
              </a:defRPr>
            </a:lvl1pPr>
          </a:lstStyle>
          <a:p>
            <a:fld id="{9F427BA5-3988-40EC-8E11-9F7B5510E66B}" type="slidenum">
              <a:rPr lang="en-GB" smtClean="0"/>
              <a:pPr/>
              <a:t>‹#›</a:t>
            </a:fld>
            <a:endParaRPr lang="en-GB"/>
          </a:p>
        </p:txBody>
      </p:sp>
      <p:pic>
        <p:nvPicPr>
          <p:cNvPr id="48" name="Picture 2">
            <a:extLst>
              <a:ext uri="{FF2B5EF4-FFF2-40B4-BE49-F238E27FC236}">
                <a16:creationId xmlns:a16="http://schemas.microsoft.com/office/drawing/2014/main" id="{3A87B4E2-92EB-4D51-A638-C6C1083874D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2636" r="23515" b="9325"/>
          <a:stretch/>
        </p:blipFill>
        <p:spPr>
          <a:xfrm>
            <a:off x="-1" y="0"/>
            <a:ext cx="12192001" cy="6858000"/>
          </a:xfrm>
          <a:prstGeom prst="rect">
            <a:avLst/>
          </a:prstGeom>
        </p:spPr>
      </p:pic>
      <p:sp>
        <p:nvSpPr>
          <p:cNvPr id="49" name="Rectángulo 48">
            <a:extLst>
              <a:ext uri="{FF2B5EF4-FFF2-40B4-BE49-F238E27FC236}">
                <a16:creationId xmlns:a16="http://schemas.microsoft.com/office/drawing/2014/main" id="{94AAE831-7FBB-4A40-919E-2662DFD7ED3D}"/>
              </a:ext>
            </a:extLst>
          </p:cNvPr>
          <p:cNvSpPr/>
          <p:nvPr userDrawn="1"/>
        </p:nvSpPr>
        <p:spPr>
          <a:xfrm>
            <a:off x="0" y="0"/>
            <a:ext cx="12192000" cy="6858000"/>
          </a:xfrm>
          <a:prstGeom prst="rect">
            <a:avLst/>
          </a:prstGeom>
          <a:gradFill>
            <a:gsLst>
              <a:gs pos="57000">
                <a:srgbClr val="0E59B3">
                  <a:alpha val="24000"/>
                </a:srgbClr>
              </a:gs>
              <a:gs pos="7000">
                <a:schemeClr val="tx2"/>
              </a:gs>
              <a:gs pos="100000">
                <a:schemeClr val="accent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Conector recto 50">
            <a:extLst>
              <a:ext uri="{FF2B5EF4-FFF2-40B4-BE49-F238E27FC236}">
                <a16:creationId xmlns:a16="http://schemas.microsoft.com/office/drawing/2014/main" id="{DDDB4824-5021-498B-A100-4118DFA98896}"/>
              </a:ext>
            </a:extLst>
          </p:cNvPr>
          <p:cNvCxnSpPr/>
          <p:nvPr userDrawn="1"/>
        </p:nvCxnSpPr>
        <p:spPr>
          <a:xfrm>
            <a:off x="666826" y="2468880"/>
            <a:ext cx="620142" cy="0"/>
          </a:xfrm>
          <a:prstGeom prst="line">
            <a:avLst/>
          </a:prstGeom>
          <a:ln>
            <a:solidFill>
              <a:srgbClr val="41E7DB"/>
            </a:solidFill>
          </a:ln>
        </p:spPr>
        <p:style>
          <a:lnRef idx="1">
            <a:schemeClr val="accent1"/>
          </a:lnRef>
          <a:fillRef idx="0">
            <a:schemeClr val="accent1"/>
          </a:fillRef>
          <a:effectRef idx="0">
            <a:schemeClr val="accent1"/>
          </a:effectRef>
          <a:fontRef idx="minor">
            <a:schemeClr val="tx1"/>
          </a:fontRef>
        </p:style>
      </p:cxnSp>
      <p:pic>
        <p:nvPicPr>
          <p:cNvPr id="53" name="Picture 7">
            <a:extLst>
              <a:ext uri="{FF2B5EF4-FFF2-40B4-BE49-F238E27FC236}">
                <a16:creationId xmlns:a16="http://schemas.microsoft.com/office/drawing/2014/main" id="{B3AACBD4-1212-476B-9B90-F5FFFB9ED8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25388" y="893995"/>
            <a:ext cx="4132268" cy="1574885"/>
          </a:xfrm>
          <a:prstGeom prst="rect">
            <a:avLst/>
          </a:prstGeom>
        </p:spPr>
      </p:pic>
      <p:sp>
        <p:nvSpPr>
          <p:cNvPr id="54" name="Text Placeholder 11">
            <a:extLst>
              <a:ext uri="{FF2B5EF4-FFF2-40B4-BE49-F238E27FC236}">
                <a16:creationId xmlns:a16="http://schemas.microsoft.com/office/drawing/2014/main" id="{6977D481-C1D7-454D-838A-3CE337D73F8F}"/>
              </a:ext>
            </a:extLst>
          </p:cNvPr>
          <p:cNvSpPr>
            <a:spLocks noGrp="1"/>
          </p:cNvSpPr>
          <p:nvPr>
            <p:ph type="body" sz="quarter" idx="12" hasCustomPrompt="1"/>
          </p:nvPr>
        </p:nvSpPr>
        <p:spPr>
          <a:xfrm>
            <a:off x="666826" y="2587942"/>
            <a:ext cx="4055521" cy="2122485"/>
          </a:xfrm>
          <a:noFill/>
        </p:spPr>
        <p:txBody>
          <a:bodyPr wrap="square" lIns="0" tIns="0" rIns="0" bIns="45720" rtlCol="0">
            <a:noAutofit/>
          </a:bodyPr>
          <a:lstStyle>
            <a:lvl1pPr marL="0" indent="0">
              <a:spcBef>
                <a:spcPts val="0"/>
              </a:spcBef>
              <a:spcAft>
                <a:spcPts val="0"/>
              </a:spcAft>
              <a:buNone/>
              <a:defRPr lang="en-US" sz="3200" b="1" i="0" spc="0" dirty="0">
                <a:solidFill>
                  <a:schemeClr val="bg1"/>
                </a:solidFill>
                <a:latin typeface="+mj-lt"/>
                <a:cs typeface="Poppins" pitchFamily="2" charset="77"/>
              </a:defRPr>
            </a:lvl1pPr>
          </a:lstStyle>
          <a:p>
            <a:pPr marL="0" lvl="0"/>
            <a:r>
              <a:rPr lang="en-US" dirty="0"/>
              <a:t>Name</a:t>
            </a:r>
          </a:p>
        </p:txBody>
      </p:sp>
      <p:sp>
        <p:nvSpPr>
          <p:cNvPr id="12" name="Rectángulo 13">
            <a:extLst>
              <a:ext uri="{FF2B5EF4-FFF2-40B4-BE49-F238E27FC236}">
                <a16:creationId xmlns:a16="http://schemas.microsoft.com/office/drawing/2014/main" id="{8A237CAE-FDEA-D743-815E-D0359A067AEA}"/>
              </a:ext>
            </a:extLst>
          </p:cNvPr>
          <p:cNvSpPr/>
          <p:nvPr userDrawn="1"/>
        </p:nvSpPr>
        <p:spPr>
          <a:xfrm rot="5400000">
            <a:off x="5929845" y="633001"/>
            <a:ext cx="332309" cy="12192000"/>
          </a:xfrm>
          <a:prstGeom prst="rect">
            <a:avLst/>
          </a:prstGeom>
          <a:gradFill>
            <a:gsLst>
              <a:gs pos="100000">
                <a:schemeClr val="accent3"/>
              </a:gs>
              <a:gs pos="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26562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graphicFrame>
        <p:nvGraphicFramePr>
          <p:cNvPr id="73" name="Objeto 72" hidden="1">
            <a:extLst>
              <a:ext uri="{FF2B5EF4-FFF2-40B4-BE49-F238E27FC236}">
                <a16:creationId xmlns:a16="http://schemas.microsoft.com/office/drawing/2014/main" id="{9D9CF1EB-BAD6-6144-99F1-8567A0D6F798}"/>
              </a:ext>
            </a:extLst>
          </p:cNvPr>
          <p:cNvGraphicFramePr>
            <a:graphicFrameLocks noChangeAspect="1"/>
          </p:cNvGraphicFramePr>
          <p:nvPr userDrawn="1">
            <p:custDataLst>
              <p:tags r:id="rId1"/>
            </p:custDataLst>
            <p:extLst>
              <p:ext uri="{D42A27DB-BD31-4B8C-83A1-F6EECF244321}">
                <p14:modId xmlns:p14="http://schemas.microsoft.com/office/powerpoint/2010/main" val="3820472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3" name="Objeto 72" hidden="1">
                        <a:extLst>
                          <a:ext uri="{FF2B5EF4-FFF2-40B4-BE49-F238E27FC236}">
                            <a16:creationId xmlns:a16="http://schemas.microsoft.com/office/drawing/2014/main" id="{9D9CF1EB-BAD6-6144-99F1-8567A0D6F7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2" name="Picture 2" descr="A picture containing sky, outdoor, watercraft, transport&#10;&#10;Description automatically generated">
            <a:extLst>
              <a:ext uri="{FF2B5EF4-FFF2-40B4-BE49-F238E27FC236}">
                <a16:creationId xmlns:a16="http://schemas.microsoft.com/office/drawing/2014/main" id="{7C3DCB1D-B65D-4CD6-99F6-198AABAAAE84}"/>
              </a:ext>
            </a:extLst>
          </p:cNvPr>
          <p:cNvPicPr>
            <a:picLocks noChangeAspect="1"/>
          </p:cNvPicPr>
          <p:nvPr userDrawn="1"/>
        </p:nvPicPr>
        <p:blipFill rotWithShape="1">
          <a:blip r:embed="rId5">
            <a:extLst>
              <a:ext uri="{28A0092B-C50C-407E-A947-70E740481C1C}">
                <a14:useLocalDpi xmlns:a14="http://schemas.microsoft.com/office/drawing/2010/main"/>
              </a:ext>
            </a:extLst>
          </a:blip>
          <a:srcRect t="7817" b="7817"/>
          <a:stretch/>
        </p:blipFill>
        <p:spPr>
          <a:xfrm>
            <a:off x="0" y="0"/>
            <a:ext cx="12193200" cy="6858000"/>
          </a:xfrm>
          <a:prstGeom prst="rect">
            <a:avLst/>
          </a:prstGeom>
        </p:spPr>
      </p:pic>
      <p:sp>
        <p:nvSpPr>
          <p:cNvPr id="13" name="Rectángulo 12">
            <a:extLst>
              <a:ext uri="{FF2B5EF4-FFF2-40B4-BE49-F238E27FC236}">
                <a16:creationId xmlns:a16="http://schemas.microsoft.com/office/drawing/2014/main" id="{177B21A0-8512-40DC-88A4-8096796629D1}"/>
              </a:ext>
            </a:extLst>
          </p:cNvPr>
          <p:cNvSpPr/>
          <p:nvPr userDrawn="1"/>
        </p:nvSpPr>
        <p:spPr>
          <a:xfrm rot="10800000">
            <a:off x="0" y="0"/>
            <a:ext cx="12192000" cy="6858000"/>
          </a:xfrm>
          <a:prstGeom prst="rect">
            <a:avLst/>
          </a:prstGeom>
          <a:gradFill>
            <a:gsLst>
              <a:gs pos="0">
                <a:schemeClr val="tx2"/>
              </a:gs>
              <a:gs pos="72109">
                <a:srgbClr val="0E59B3">
                  <a:alpha val="12000"/>
                </a:srgbClr>
              </a:gs>
              <a:gs pos="39000">
                <a:srgbClr val="0E59B3">
                  <a:alpha val="40000"/>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áfico 29">
            <a:extLst>
              <a:ext uri="{FF2B5EF4-FFF2-40B4-BE49-F238E27FC236}">
                <a16:creationId xmlns:a16="http://schemas.microsoft.com/office/drawing/2014/main" id="{74E49FB9-2C85-48E0-B48E-F573D95C957A}"/>
              </a:ext>
            </a:extLst>
          </p:cNvPr>
          <p:cNvGrpSpPr/>
          <p:nvPr userDrawn="1"/>
        </p:nvGrpSpPr>
        <p:grpSpPr>
          <a:xfrm>
            <a:off x="686610" y="1426301"/>
            <a:ext cx="2902215" cy="631101"/>
            <a:chOff x="575921" y="2690945"/>
            <a:chExt cx="4055521" cy="881893"/>
          </a:xfrm>
        </p:grpSpPr>
        <p:sp>
          <p:nvSpPr>
            <p:cNvPr id="18" name="Forma libre 7">
              <a:extLst>
                <a:ext uri="{FF2B5EF4-FFF2-40B4-BE49-F238E27FC236}">
                  <a16:creationId xmlns:a16="http://schemas.microsoft.com/office/drawing/2014/main" id="{C955D2E2-2B36-4C04-BBB4-38A31F87CDD2}"/>
                </a:ext>
              </a:extLst>
            </p:cNvPr>
            <p:cNvSpPr/>
            <p:nvPr/>
          </p:nvSpPr>
          <p:spPr>
            <a:xfrm>
              <a:off x="575921" y="2690945"/>
              <a:ext cx="745113" cy="878286"/>
            </a:xfrm>
            <a:custGeom>
              <a:avLst/>
              <a:gdLst>
                <a:gd name="connsiteX0" fmla="*/ 0 w 745113"/>
                <a:gd name="connsiteY0" fmla="*/ 793524 h 878286"/>
                <a:gd name="connsiteX1" fmla="*/ 426038 w 745113"/>
                <a:gd name="connsiteY1" fmla="*/ 0 h 878286"/>
                <a:gd name="connsiteX2" fmla="*/ 745114 w 745113"/>
                <a:gd name="connsiteY2" fmla="*/ 600554 h 878286"/>
                <a:gd name="connsiteX3" fmla="*/ 598266 w 745113"/>
                <a:gd name="connsiteY3" fmla="*/ 551860 h 878286"/>
                <a:gd name="connsiteX4" fmla="*/ 426038 w 745113"/>
                <a:gd name="connsiteY4" fmla="*/ 229040 h 878286"/>
                <a:gd name="connsiteX5" fmla="*/ 76143 w 745113"/>
                <a:gd name="connsiteY5" fmla="*/ 878287 h 87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5113" h="878286">
                  <a:moveTo>
                    <a:pt x="0" y="793524"/>
                  </a:moveTo>
                  <a:lnTo>
                    <a:pt x="426038" y="0"/>
                  </a:lnTo>
                  <a:lnTo>
                    <a:pt x="745114" y="600554"/>
                  </a:lnTo>
                  <a:lnTo>
                    <a:pt x="598266" y="551860"/>
                  </a:lnTo>
                  <a:lnTo>
                    <a:pt x="426038" y="229040"/>
                  </a:lnTo>
                  <a:lnTo>
                    <a:pt x="76143" y="878287"/>
                  </a:lnTo>
                  <a:close/>
                </a:path>
              </a:pathLst>
            </a:custGeom>
            <a:solidFill>
              <a:srgbClr val="2982A3"/>
            </a:solidFill>
            <a:ln w="18105" cap="flat">
              <a:noFill/>
              <a:prstDash val="solid"/>
              <a:miter/>
            </a:ln>
          </p:spPr>
          <p:txBody>
            <a:bodyPr rtlCol="0" anchor="ctr"/>
            <a:lstStyle/>
            <a:p>
              <a:endParaRPr lang="en-US"/>
            </a:p>
          </p:txBody>
        </p:sp>
        <p:sp>
          <p:nvSpPr>
            <p:cNvPr id="19" name="Forma libre 9">
              <a:extLst>
                <a:ext uri="{FF2B5EF4-FFF2-40B4-BE49-F238E27FC236}">
                  <a16:creationId xmlns:a16="http://schemas.microsoft.com/office/drawing/2014/main" id="{47E9999D-4404-4A8A-8BFA-3B674159DD2D}"/>
                </a:ext>
              </a:extLst>
            </p:cNvPr>
            <p:cNvSpPr/>
            <p:nvPr/>
          </p:nvSpPr>
          <p:spPr>
            <a:xfrm>
              <a:off x="875054" y="2690945"/>
              <a:ext cx="672596" cy="793524"/>
            </a:xfrm>
            <a:custGeom>
              <a:avLst/>
              <a:gdLst>
                <a:gd name="connsiteX0" fmla="*/ 184919 w 672596"/>
                <a:gd name="connsiteY0" fmla="*/ 512184 h 793524"/>
                <a:gd name="connsiteX1" fmla="*/ 445980 w 672596"/>
                <a:gd name="connsiteY1" fmla="*/ 600554 h 793524"/>
                <a:gd name="connsiteX2" fmla="*/ 126905 w 672596"/>
                <a:gd name="connsiteY2" fmla="*/ 0 h 793524"/>
                <a:gd name="connsiteX3" fmla="*/ 248371 w 672596"/>
                <a:gd name="connsiteY3" fmla="*/ 0 h 793524"/>
                <a:gd name="connsiteX4" fmla="*/ 672597 w 672596"/>
                <a:gd name="connsiteY4" fmla="*/ 793524 h 793524"/>
                <a:gd name="connsiteX5" fmla="*/ 186732 w 672596"/>
                <a:gd name="connsiteY5" fmla="*/ 625802 h 793524"/>
                <a:gd name="connsiteX6" fmla="*/ 0 w 672596"/>
                <a:gd name="connsiteY6" fmla="*/ 694334 h 793524"/>
                <a:gd name="connsiteX7" fmla="*/ 76143 w 672596"/>
                <a:gd name="connsiteY7" fmla="*/ 550057 h 79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596" h="793524">
                  <a:moveTo>
                    <a:pt x="184919" y="512184"/>
                  </a:moveTo>
                  <a:lnTo>
                    <a:pt x="445980" y="600554"/>
                  </a:lnTo>
                  <a:lnTo>
                    <a:pt x="126905" y="0"/>
                  </a:lnTo>
                  <a:lnTo>
                    <a:pt x="248371" y="0"/>
                  </a:lnTo>
                  <a:lnTo>
                    <a:pt x="672597" y="793524"/>
                  </a:lnTo>
                  <a:lnTo>
                    <a:pt x="186732" y="625802"/>
                  </a:lnTo>
                  <a:lnTo>
                    <a:pt x="0" y="694334"/>
                  </a:lnTo>
                  <a:lnTo>
                    <a:pt x="76143" y="550057"/>
                  </a:lnTo>
                  <a:close/>
                </a:path>
              </a:pathLst>
            </a:custGeom>
            <a:solidFill>
              <a:srgbClr val="232E47"/>
            </a:solidFill>
            <a:ln w="18105" cap="flat">
              <a:noFill/>
              <a:prstDash val="solid"/>
              <a:miter/>
            </a:ln>
          </p:spPr>
          <p:txBody>
            <a:bodyPr rtlCol="0" anchor="ctr"/>
            <a:lstStyle/>
            <a:p>
              <a:endParaRPr lang="en-US"/>
            </a:p>
          </p:txBody>
        </p:sp>
        <p:sp>
          <p:nvSpPr>
            <p:cNvPr id="20" name="Forma libre 10">
              <a:extLst>
                <a:ext uri="{FF2B5EF4-FFF2-40B4-BE49-F238E27FC236}">
                  <a16:creationId xmlns:a16="http://schemas.microsoft.com/office/drawing/2014/main" id="{0000CFB2-0B30-4E56-86F9-25862AF93007}"/>
                </a:ext>
              </a:extLst>
            </p:cNvPr>
            <p:cNvSpPr/>
            <p:nvPr/>
          </p:nvSpPr>
          <p:spPr>
            <a:xfrm>
              <a:off x="652064" y="2919984"/>
              <a:ext cx="895586" cy="652853"/>
            </a:xfrm>
            <a:custGeom>
              <a:avLst/>
              <a:gdLst>
                <a:gd name="connsiteX0" fmla="*/ 349895 w 895586"/>
                <a:gd name="connsiteY0" fmla="*/ 0 h 652853"/>
                <a:gd name="connsiteX1" fmla="*/ 409722 w 895586"/>
                <a:gd name="connsiteY1" fmla="*/ 115422 h 652853"/>
                <a:gd name="connsiteX2" fmla="*/ 222990 w 895586"/>
                <a:gd name="connsiteY2" fmla="*/ 465294 h 652853"/>
                <a:gd name="connsiteX3" fmla="*/ 409722 w 895586"/>
                <a:gd name="connsiteY3" fmla="*/ 396762 h 652853"/>
                <a:gd name="connsiteX4" fmla="*/ 895587 w 895586"/>
                <a:gd name="connsiteY4" fmla="*/ 564484 h 652853"/>
                <a:gd name="connsiteX5" fmla="*/ 821257 w 895586"/>
                <a:gd name="connsiteY5" fmla="*/ 652854 h 652853"/>
                <a:gd name="connsiteX6" fmla="*/ 407909 w 895586"/>
                <a:gd name="connsiteY6" fmla="*/ 510380 h 652853"/>
                <a:gd name="connsiteX7" fmla="*/ 0 w 895586"/>
                <a:gd name="connsiteY7" fmla="*/ 649247 h 6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586" h="652853">
                  <a:moveTo>
                    <a:pt x="349895" y="0"/>
                  </a:moveTo>
                  <a:lnTo>
                    <a:pt x="409722" y="115422"/>
                  </a:lnTo>
                  <a:lnTo>
                    <a:pt x="222990" y="465294"/>
                  </a:lnTo>
                  <a:lnTo>
                    <a:pt x="409722" y="396762"/>
                  </a:lnTo>
                  <a:lnTo>
                    <a:pt x="895587" y="564484"/>
                  </a:lnTo>
                  <a:lnTo>
                    <a:pt x="821257" y="652854"/>
                  </a:lnTo>
                  <a:lnTo>
                    <a:pt x="407909" y="510380"/>
                  </a:lnTo>
                  <a:lnTo>
                    <a:pt x="0" y="649247"/>
                  </a:lnTo>
                  <a:close/>
                </a:path>
              </a:pathLst>
            </a:custGeom>
            <a:solidFill>
              <a:srgbClr val="224F70"/>
            </a:solidFill>
            <a:ln w="18105" cap="flat">
              <a:noFill/>
              <a:prstDash val="solid"/>
              <a:miter/>
            </a:ln>
          </p:spPr>
          <p:txBody>
            <a:bodyPr rtlCol="0" anchor="ctr"/>
            <a:lstStyle/>
            <a:p>
              <a:endParaRPr lang="en-US"/>
            </a:p>
          </p:txBody>
        </p:sp>
        <p:grpSp>
          <p:nvGrpSpPr>
            <p:cNvPr id="21" name="Gráfico 29">
              <a:extLst>
                <a:ext uri="{FF2B5EF4-FFF2-40B4-BE49-F238E27FC236}">
                  <a16:creationId xmlns:a16="http://schemas.microsoft.com/office/drawing/2014/main" id="{0769EA39-13F5-479F-9621-59F79FBE7AC6}"/>
                </a:ext>
              </a:extLst>
            </p:cNvPr>
            <p:cNvGrpSpPr/>
            <p:nvPr/>
          </p:nvGrpSpPr>
          <p:grpSpPr>
            <a:xfrm>
              <a:off x="1741634" y="2743245"/>
              <a:ext cx="2889808" cy="800737"/>
              <a:chOff x="1741634" y="2743245"/>
              <a:chExt cx="2889808" cy="800737"/>
            </a:xfrm>
          </p:grpSpPr>
          <p:sp>
            <p:nvSpPr>
              <p:cNvPr id="22" name="Forma libre 14">
                <a:extLst>
                  <a:ext uri="{FF2B5EF4-FFF2-40B4-BE49-F238E27FC236}">
                    <a16:creationId xmlns:a16="http://schemas.microsoft.com/office/drawing/2014/main" id="{856175D6-6714-484E-AAF3-F7AA31BE8E2D}"/>
                  </a:ext>
                </a:extLst>
              </p:cNvPr>
              <p:cNvSpPr/>
              <p:nvPr/>
            </p:nvSpPr>
            <p:spPr>
              <a:xfrm>
                <a:off x="1741634" y="3387082"/>
                <a:ext cx="70704" cy="155097"/>
              </a:xfrm>
              <a:custGeom>
                <a:avLst/>
                <a:gdLst>
                  <a:gd name="connsiteX0" fmla="*/ 14503 w 70704"/>
                  <a:gd name="connsiteY0" fmla="*/ 142474 h 155097"/>
                  <a:gd name="connsiteX1" fmla="*/ 70704 w 70704"/>
                  <a:gd name="connsiteY1" fmla="*/ 142474 h 155097"/>
                  <a:gd name="connsiteX2" fmla="*/ 70704 w 70704"/>
                  <a:gd name="connsiteY2" fmla="*/ 155098 h 155097"/>
                  <a:gd name="connsiteX3" fmla="*/ 0 w 70704"/>
                  <a:gd name="connsiteY3" fmla="*/ 155098 h 155097"/>
                  <a:gd name="connsiteX4" fmla="*/ 0 w 70704"/>
                  <a:gd name="connsiteY4" fmla="*/ 0 h 155097"/>
                  <a:gd name="connsiteX5" fmla="*/ 14503 w 70704"/>
                  <a:gd name="connsiteY5" fmla="*/ 0 h 15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04" h="155097">
                    <a:moveTo>
                      <a:pt x="14503" y="142474"/>
                    </a:moveTo>
                    <a:lnTo>
                      <a:pt x="70704" y="142474"/>
                    </a:lnTo>
                    <a:lnTo>
                      <a:pt x="70704" y="155098"/>
                    </a:lnTo>
                    <a:lnTo>
                      <a:pt x="0" y="155098"/>
                    </a:lnTo>
                    <a:lnTo>
                      <a:pt x="0" y="0"/>
                    </a:lnTo>
                    <a:lnTo>
                      <a:pt x="14503" y="0"/>
                    </a:lnTo>
                    <a:close/>
                  </a:path>
                </a:pathLst>
              </a:custGeom>
              <a:solidFill>
                <a:srgbClr val="224F70"/>
              </a:solidFill>
              <a:ln w="18105" cap="flat">
                <a:noFill/>
                <a:prstDash val="solid"/>
                <a:miter/>
              </a:ln>
            </p:spPr>
            <p:txBody>
              <a:bodyPr rtlCol="0" anchor="ctr"/>
              <a:lstStyle/>
              <a:p>
                <a:endParaRPr lang="en-US"/>
              </a:p>
            </p:txBody>
          </p:sp>
          <p:sp>
            <p:nvSpPr>
              <p:cNvPr id="23" name="Forma libre 30">
                <a:extLst>
                  <a:ext uri="{FF2B5EF4-FFF2-40B4-BE49-F238E27FC236}">
                    <a16:creationId xmlns:a16="http://schemas.microsoft.com/office/drawing/2014/main" id="{A742086F-C26D-4195-A4B4-0D0133ABD4B3}"/>
                  </a:ext>
                </a:extLst>
              </p:cNvPr>
              <p:cNvSpPr/>
              <p:nvPr/>
            </p:nvSpPr>
            <p:spPr>
              <a:xfrm>
                <a:off x="1928366" y="3388885"/>
                <a:ext cx="130530" cy="151490"/>
              </a:xfrm>
              <a:custGeom>
                <a:avLst/>
                <a:gdLst>
                  <a:gd name="connsiteX0" fmla="*/ 99711 w 130530"/>
                  <a:gd name="connsiteY0" fmla="*/ 115422 h 151490"/>
                  <a:gd name="connsiteX1" fmla="*/ 29007 w 130530"/>
                  <a:gd name="connsiteY1" fmla="*/ 115422 h 151490"/>
                  <a:gd name="connsiteX2" fmla="*/ 16316 w 130530"/>
                  <a:gd name="connsiteY2" fmla="*/ 151491 h 151490"/>
                  <a:gd name="connsiteX3" fmla="*/ 0 w 130530"/>
                  <a:gd name="connsiteY3" fmla="*/ 151491 h 151490"/>
                  <a:gd name="connsiteX4" fmla="*/ 56201 w 130530"/>
                  <a:gd name="connsiteY4" fmla="*/ 0 h 151490"/>
                  <a:gd name="connsiteX5" fmla="*/ 74330 w 130530"/>
                  <a:gd name="connsiteY5" fmla="*/ 0 h 151490"/>
                  <a:gd name="connsiteX6" fmla="*/ 130531 w 130530"/>
                  <a:gd name="connsiteY6" fmla="*/ 151491 h 151490"/>
                  <a:gd name="connsiteX7" fmla="*/ 114215 w 130530"/>
                  <a:gd name="connsiteY7" fmla="*/ 151491 h 151490"/>
                  <a:gd name="connsiteX8" fmla="*/ 99711 w 130530"/>
                  <a:gd name="connsiteY8" fmla="*/ 115422 h 151490"/>
                  <a:gd name="connsiteX9" fmla="*/ 94272 w 130530"/>
                  <a:gd name="connsiteY9" fmla="*/ 102797 h 151490"/>
                  <a:gd name="connsiteX10" fmla="*/ 65266 w 130530"/>
                  <a:gd name="connsiteY10" fmla="*/ 19838 h 151490"/>
                  <a:gd name="connsiteX11" fmla="*/ 34446 w 130530"/>
                  <a:gd name="connsiteY11" fmla="*/ 102797 h 151490"/>
                  <a:gd name="connsiteX12" fmla="*/ 94272 w 130530"/>
                  <a:gd name="connsiteY12" fmla="*/ 102797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530" h="151490">
                    <a:moveTo>
                      <a:pt x="99711" y="115422"/>
                    </a:moveTo>
                    <a:lnTo>
                      <a:pt x="29007" y="115422"/>
                    </a:lnTo>
                    <a:lnTo>
                      <a:pt x="16316" y="151491"/>
                    </a:lnTo>
                    <a:lnTo>
                      <a:pt x="0" y="151491"/>
                    </a:lnTo>
                    <a:lnTo>
                      <a:pt x="56201" y="0"/>
                    </a:lnTo>
                    <a:lnTo>
                      <a:pt x="74330" y="0"/>
                    </a:lnTo>
                    <a:lnTo>
                      <a:pt x="130531" y="151491"/>
                    </a:lnTo>
                    <a:lnTo>
                      <a:pt x="114215" y="151491"/>
                    </a:lnTo>
                    <a:lnTo>
                      <a:pt x="99711" y="115422"/>
                    </a:lnTo>
                    <a:close/>
                    <a:moveTo>
                      <a:pt x="94272" y="102797"/>
                    </a:moveTo>
                    <a:lnTo>
                      <a:pt x="65266" y="19838"/>
                    </a:lnTo>
                    <a:lnTo>
                      <a:pt x="34446" y="102797"/>
                    </a:lnTo>
                    <a:lnTo>
                      <a:pt x="94272" y="102797"/>
                    </a:lnTo>
                    <a:close/>
                  </a:path>
                </a:pathLst>
              </a:custGeom>
              <a:solidFill>
                <a:srgbClr val="224F70"/>
              </a:solidFill>
              <a:ln w="18105" cap="flat">
                <a:noFill/>
                <a:prstDash val="solid"/>
                <a:miter/>
              </a:ln>
            </p:spPr>
            <p:txBody>
              <a:bodyPr rtlCol="0" anchor="ctr"/>
              <a:lstStyle/>
              <a:p>
                <a:endParaRPr lang="en-US"/>
              </a:p>
            </p:txBody>
          </p:sp>
          <p:sp>
            <p:nvSpPr>
              <p:cNvPr id="24" name="Forma libre 31">
                <a:extLst>
                  <a:ext uri="{FF2B5EF4-FFF2-40B4-BE49-F238E27FC236}">
                    <a16:creationId xmlns:a16="http://schemas.microsoft.com/office/drawing/2014/main" id="{1BBDE456-A0E2-4750-A1FB-FA5A510E4C9B}"/>
                  </a:ext>
                </a:extLst>
              </p:cNvPr>
              <p:cNvSpPr/>
              <p:nvPr/>
            </p:nvSpPr>
            <p:spPr>
              <a:xfrm>
                <a:off x="2174924" y="3387082"/>
                <a:ext cx="101523" cy="155097"/>
              </a:xfrm>
              <a:custGeom>
                <a:avLst/>
                <a:gdLst>
                  <a:gd name="connsiteX0" fmla="*/ 101524 w 101523"/>
                  <a:gd name="connsiteY0" fmla="*/ 0 h 155097"/>
                  <a:gd name="connsiteX1" fmla="*/ 101524 w 101523"/>
                  <a:gd name="connsiteY1" fmla="*/ 14428 h 155097"/>
                  <a:gd name="connsiteX2" fmla="*/ 59827 w 101523"/>
                  <a:gd name="connsiteY2" fmla="*/ 14428 h 155097"/>
                  <a:gd name="connsiteX3" fmla="*/ 59827 w 101523"/>
                  <a:gd name="connsiteY3" fmla="*/ 155098 h 155097"/>
                  <a:gd name="connsiteX4" fmla="*/ 43510 w 101523"/>
                  <a:gd name="connsiteY4" fmla="*/ 155098 h 155097"/>
                  <a:gd name="connsiteX5" fmla="*/ 43510 w 101523"/>
                  <a:gd name="connsiteY5" fmla="*/ 14428 h 155097"/>
                  <a:gd name="connsiteX6" fmla="*/ 0 w 101523"/>
                  <a:gd name="connsiteY6" fmla="*/ 14428 h 155097"/>
                  <a:gd name="connsiteX7" fmla="*/ 0 w 101523"/>
                  <a:gd name="connsiteY7" fmla="*/ 0 h 15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523" h="155097">
                    <a:moveTo>
                      <a:pt x="101524" y="0"/>
                    </a:moveTo>
                    <a:lnTo>
                      <a:pt x="101524" y="14428"/>
                    </a:lnTo>
                    <a:lnTo>
                      <a:pt x="59827" y="14428"/>
                    </a:lnTo>
                    <a:lnTo>
                      <a:pt x="59827" y="155098"/>
                    </a:lnTo>
                    <a:lnTo>
                      <a:pt x="43510" y="155098"/>
                    </a:lnTo>
                    <a:lnTo>
                      <a:pt x="43510" y="14428"/>
                    </a:lnTo>
                    <a:lnTo>
                      <a:pt x="0" y="14428"/>
                    </a:lnTo>
                    <a:lnTo>
                      <a:pt x="0" y="0"/>
                    </a:lnTo>
                    <a:close/>
                  </a:path>
                </a:pathLst>
              </a:custGeom>
              <a:solidFill>
                <a:srgbClr val="224F70"/>
              </a:solidFill>
              <a:ln w="18105" cap="flat">
                <a:noFill/>
                <a:prstDash val="solid"/>
                <a:miter/>
              </a:ln>
            </p:spPr>
            <p:txBody>
              <a:bodyPr rtlCol="0" anchor="ctr"/>
              <a:lstStyle/>
              <a:p>
                <a:endParaRPr lang="en-US"/>
              </a:p>
            </p:txBody>
          </p:sp>
          <p:sp>
            <p:nvSpPr>
              <p:cNvPr id="25" name="Forma libre 32">
                <a:extLst>
                  <a:ext uri="{FF2B5EF4-FFF2-40B4-BE49-F238E27FC236}">
                    <a16:creationId xmlns:a16="http://schemas.microsoft.com/office/drawing/2014/main" id="{66B1F703-B5A5-496B-BC77-8645C657DF8D}"/>
                  </a:ext>
                </a:extLst>
              </p:cNvPr>
              <p:cNvSpPr/>
              <p:nvPr/>
            </p:nvSpPr>
            <p:spPr>
              <a:xfrm>
                <a:off x="2405166" y="3387082"/>
                <a:ext cx="16316" cy="153294"/>
              </a:xfrm>
              <a:custGeom>
                <a:avLst/>
                <a:gdLst>
                  <a:gd name="connsiteX0" fmla="*/ 0 w 16316"/>
                  <a:gd name="connsiteY0" fmla="*/ 0 h 153294"/>
                  <a:gd name="connsiteX1" fmla="*/ 16316 w 16316"/>
                  <a:gd name="connsiteY1" fmla="*/ 0 h 153294"/>
                  <a:gd name="connsiteX2" fmla="*/ 16316 w 16316"/>
                  <a:gd name="connsiteY2" fmla="*/ 153294 h 153294"/>
                  <a:gd name="connsiteX3" fmla="*/ 0 w 16316"/>
                  <a:gd name="connsiteY3" fmla="*/ 153294 h 153294"/>
                </a:gdLst>
                <a:ahLst/>
                <a:cxnLst>
                  <a:cxn ang="0">
                    <a:pos x="connsiteX0" y="connsiteY0"/>
                  </a:cxn>
                  <a:cxn ang="0">
                    <a:pos x="connsiteX1" y="connsiteY1"/>
                  </a:cxn>
                  <a:cxn ang="0">
                    <a:pos x="connsiteX2" y="connsiteY2"/>
                  </a:cxn>
                  <a:cxn ang="0">
                    <a:pos x="connsiteX3" y="connsiteY3"/>
                  </a:cxn>
                </a:cxnLst>
                <a:rect l="l" t="t" r="r" b="b"/>
                <a:pathLst>
                  <a:path w="16316" h="153294">
                    <a:moveTo>
                      <a:pt x="0" y="0"/>
                    </a:moveTo>
                    <a:lnTo>
                      <a:pt x="16316" y="0"/>
                    </a:lnTo>
                    <a:lnTo>
                      <a:pt x="16316" y="153294"/>
                    </a:lnTo>
                    <a:lnTo>
                      <a:pt x="0" y="153294"/>
                    </a:lnTo>
                    <a:close/>
                  </a:path>
                </a:pathLst>
              </a:custGeom>
              <a:solidFill>
                <a:srgbClr val="224F70"/>
              </a:solidFill>
              <a:ln w="18105" cap="flat">
                <a:noFill/>
                <a:prstDash val="solid"/>
                <a:miter/>
              </a:ln>
            </p:spPr>
            <p:txBody>
              <a:bodyPr rtlCol="0" anchor="ctr"/>
              <a:lstStyle/>
              <a:p>
                <a:endParaRPr lang="en-US"/>
              </a:p>
            </p:txBody>
          </p:sp>
          <p:sp>
            <p:nvSpPr>
              <p:cNvPr id="26" name="Forma libre 33">
                <a:extLst>
                  <a:ext uri="{FF2B5EF4-FFF2-40B4-BE49-F238E27FC236}">
                    <a16:creationId xmlns:a16="http://schemas.microsoft.com/office/drawing/2014/main" id="{3FEF98E3-20D4-4210-B66C-42ED49B47AA3}"/>
                  </a:ext>
                </a:extLst>
              </p:cNvPr>
              <p:cNvSpPr/>
              <p:nvPr/>
            </p:nvSpPr>
            <p:spPr>
              <a:xfrm>
                <a:off x="2561078" y="3387082"/>
                <a:ext cx="116027" cy="155097"/>
              </a:xfrm>
              <a:custGeom>
                <a:avLst/>
                <a:gdLst>
                  <a:gd name="connsiteX0" fmla="*/ 116027 w 116027"/>
                  <a:gd name="connsiteY0" fmla="*/ 155098 h 155097"/>
                  <a:gd name="connsiteX1" fmla="*/ 99711 w 116027"/>
                  <a:gd name="connsiteY1" fmla="*/ 155098 h 155097"/>
                  <a:gd name="connsiteX2" fmla="*/ 14503 w 116027"/>
                  <a:gd name="connsiteY2" fmla="*/ 25249 h 155097"/>
                  <a:gd name="connsiteX3" fmla="*/ 14503 w 116027"/>
                  <a:gd name="connsiteY3" fmla="*/ 155098 h 155097"/>
                  <a:gd name="connsiteX4" fmla="*/ 0 w 116027"/>
                  <a:gd name="connsiteY4" fmla="*/ 155098 h 155097"/>
                  <a:gd name="connsiteX5" fmla="*/ 0 w 116027"/>
                  <a:gd name="connsiteY5" fmla="*/ 0 h 155097"/>
                  <a:gd name="connsiteX6" fmla="*/ 14503 w 116027"/>
                  <a:gd name="connsiteY6" fmla="*/ 0 h 155097"/>
                  <a:gd name="connsiteX7" fmla="*/ 99711 w 116027"/>
                  <a:gd name="connsiteY7" fmla="*/ 129849 h 155097"/>
                  <a:gd name="connsiteX8" fmla="*/ 99711 w 116027"/>
                  <a:gd name="connsiteY8" fmla="*/ 0 h 155097"/>
                  <a:gd name="connsiteX9" fmla="*/ 116027 w 116027"/>
                  <a:gd name="connsiteY9" fmla="*/ 0 h 15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027" h="155097">
                    <a:moveTo>
                      <a:pt x="116027" y="155098"/>
                    </a:moveTo>
                    <a:lnTo>
                      <a:pt x="99711" y="155098"/>
                    </a:lnTo>
                    <a:lnTo>
                      <a:pt x="14503" y="25249"/>
                    </a:lnTo>
                    <a:lnTo>
                      <a:pt x="14503" y="155098"/>
                    </a:lnTo>
                    <a:lnTo>
                      <a:pt x="0" y="155098"/>
                    </a:lnTo>
                    <a:lnTo>
                      <a:pt x="0" y="0"/>
                    </a:lnTo>
                    <a:lnTo>
                      <a:pt x="14503" y="0"/>
                    </a:lnTo>
                    <a:lnTo>
                      <a:pt x="99711" y="129849"/>
                    </a:lnTo>
                    <a:lnTo>
                      <a:pt x="99711" y="0"/>
                    </a:lnTo>
                    <a:lnTo>
                      <a:pt x="116027" y="0"/>
                    </a:lnTo>
                    <a:close/>
                  </a:path>
                </a:pathLst>
              </a:custGeom>
              <a:solidFill>
                <a:srgbClr val="224F70"/>
              </a:solidFill>
              <a:ln w="18105" cap="flat">
                <a:noFill/>
                <a:prstDash val="solid"/>
                <a:miter/>
              </a:ln>
            </p:spPr>
            <p:txBody>
              <a:bodyPr rtlCol="0" anchor="ctr"/>
              <a:lstStyle/>
              <a:p>
                <a:endParaRPr lang="en-US"/>
              </a:p>
            </p:txBody>
          </p:sp>
          <p:sp>
            <p:nvSpPr>
              <p:cNvPr id="27" name="Forma libre 34">
                <a:extLst>
                  <a:ext uri="{FF2B5EF4-FFF2-40B4-BE49-F238E27FC236}">
                    <a16:creationId xmlns:a16="http://schemas.microsoft.com/office/drawing/2014/main" id="{418132D4-54C4-4753-BCF0-2BED29BF71DF}"/>
                  </a:ext>
                </a:extLst>
              </p:cNvPr>
              <p:cNvSpPr/>
              <p:nvPr/>
            </p:nvSpPr>
            <p:spPr>
              <a:xfrm>
                <a:off x="2807636" y="3387082"/>
                <a:ext cx="152286" cy="156901"/>
              </a:xfrm>
              <a:custGeom>
                <a:avLst/>
                <a:gdLst>
                  <a:gd name="connsiteX0" fmla="*/ 38072 w 152286"/>
                  <a:gd name="connsiteY0" fmla="*/ 146081 h 156901"/>
                  <a:gd name="connsiteX1" fmla="*/ 10878 w 152286"/>
                  <a:gd name="connsiteY1" fmla="*/ 119029 h 156901"/>
                  <a:gd name="connsiteX2" fmla="*/ 0 w 152286"/>
                  <a:gd name="connsiteY2" fmla="*/ 79352 h 156901"/>
                  <a:gd name="connsiteX3" fmla="*/ 10878 w 152286"/>
                  <a:gd name="connsiteY3" fmla="*/ 37873 h 156901"/>
                  <a:gd name="connsiteX4" fmla="*/ 38072 w 152286"/>
                  <a:gd name="connsiteY4" fmla="*/ 10821 h 156901"/>
                  <a:gd name="connsiteX5" fmla="*/ 76143 w 152286"/>
                  <a:gd name="connsiteY5" fmla="*/ 0 h 156901"/>
                  <a:gd name="connsiteX6" fmla="*/ 116028 w 152286"/>
                  <a:gd name="connsiteY6" fmla="*/ 10821 h 156901"/>
                  <a:gd name="connsiteX7" fmla="*/ 143222 w 152286"/>
                  <a:gd name="connsiteY7" fmla="*/ 37873 h 156901"/>
                  <a:gd name="connsiteX8" fmla="*/ 152286 w 152286"/>
                  <a:gd name="connsiteY8" fmla="*/ 79352 h 156901"/>
                  <a:gd name="connsiteX9" fmla="*/ 143222 w 152286"/>
                  <a:gd name="connsiteY9" fmla="*/ 119029 h 156901"/>
                  <a:gd name="connsiteX10" fmla="*/ 116028 w 152286"/>
                  <a:gd name="connsiteY10" fmla="*/ 146081 h 156901"/>
                  <a:gd name="connsiteX11" fmla="*/ 76143 w 152286"/>
                  <a:gd name="connsiteY11" fmla="*/ 156901 h 156901"/>
                  <a:gd name="connsiteX12" fmla="*/ 38072 w 152286"/>
                  <a:gd name="connsiteY12" fmla="*/ 146081 h 156901"/>
                  <a:gd name="connsiteX13" fmla="*/ 108776 w 152286"/>
                  <a:gd name="connsiteY13" fmla="*/ 135260 h 156901"/>
                  <a:gd name="connsiteX14" fmla="*/ 130531 w 152286"/>
                  <a:gd name="connsiteY14" fmla="*/ 111815 h 156901"/>
                  <a:gd name="connsiteX15" fmla="*/ 137783 w 152286"/>
                  <a:gd name="connsiteY15" fmla="*/ 77549 h 156901"/>
                  <a:gd name="connsiteX16" fmla="*/ 130531 w 152286"/>
                  <a:gd name="connsiteY16" fmla="*/ 43283 h 156901"/>
                  <a:gd name="connsiteX17" fmla="*/ 108776 w 152286"/>
                  <a:gd name="connsiteY17" fmla="*/ 19838 h 156901"/>
                  <a:gd name="connsiteX18" fmla="*/ 77956 w 152286"/>
                  <a:gd name="connsiteY18" fmla="*/ 12624 h 156901"/>
                  <a:gd name="connsiteX19" fmla="*/ 47136 w 152286"/>
                  <a:gd name="connsiteY19" fmla="*/ 19838 h 156901"/>
                  <a:gd name="connsiteX20" fmla="*/ 25381 w 152286"/>
                  <a:gd name="connsiteY20" fmla="*/ 43283 h 156901"/>
                  <a:gd name="connsiteX21" fmla="*/ 18129 w 152286"/>
                  <a:gd name="connsiteY21" fmla="*/ 77549 h 156901"/>
                  <a:gd name="connsiteX22" fmla="*/ 25381 w 152286"/>
                  <a:gd name="connsiteY22" fmla="*/ 111815 h 156901"/>
                  <a:gd name="connsiteX23" fmla="*/ 47136 w 152286"/>
                  <a:gd name="connsiteY23" fmla="*/ 135260 h 156901"/>
                  <a:gd name="connsiteX24" fmla="*/ 77956 w 152286"/>
                  <a:gd name="connsiteY24" fmla="*/ 142474 h 156901"/>
                  <a:gd name="connsiteX25" fmla="*/ 108776 w 152286"/>
                  <a:gd name="connsiteY25" fmla="*/ 135260 h 15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286" h="156901">
                    <a:moveTo>
                      <a:pt x="38072" y="146081"/>
                    </a:moveTo>
                    <a:cubicBezTo>
                      <a:pt x="27194" y="138867"/>
                      <a:pt x="18129" y="129849"/>
                      <a:pt x="10878" y="119029"/>
                    </a:cubicBezTo>
                    <a:cubicBezTo>
                      <a:pt x="3626" y="106404"/>
                      <a:pt x="0" y="93780"/>
                      <a:pt x="0" y="79352"/>
                    </a:cubicBezTo>
                    <a:cubicBezTo>
                      <a:pt x="0" y="64925"/>
                      <a:pt x="3626" y="50497"/>
                      <a:pt x="10878" y="37873"/>
                    </a:cubicBezTo>
                    <a:cubicBezTo>
                      <a:pt x="18129" y="25249"/>
                      <a:pt x="27194" y="16231"/>
                      <a:pt x="38072" y="10821"/>
                    </a:cubicBezTo>
                    <a:cubicBezTo>
                      <a:pt x="48949" y="3607"/>
                      <a:pt x="63453" y="0"/>
                      <a:pt x="76143" y="0"/>
                    </a:cubicBezTo>
                    <a:cubicBezTo>
                      <a:pt x="90646" y="0"/>
                      <a:pt x="103337" y="3607"/>
                      <a:pt x="116028" y="10821"/>
                    </a:cubicBezTo>
                    <a:cubicBezTo>
                      <a:pt x="126905" y="18035"/>
                      <a:pt x="135970" y="27052"/>
                      <a:pt x="143222" y="37873"/>
                    </a:cubicBezTo>
                    <a:cubicBezTo>
                      <a:pt x="150473" y="50497"/>
                      <a:pt x="152286" y="63121"/>
                      <a:pt x="152286" y="79352"/>
                    </a:cubicBezTo>
                    <a:cubicBezTo>
                      <a:pt x="152286" y="93780"/>
                      <a:pt x="148660" y="108208"/>
                      <a:pt x="143222" y="119029"/>
                    </a:cubicBezTo>
                    <a:cubicBezTo>
                      <a:pt x="135970" y="131653"/>
                      <a:pt x="126905" y="140670"/>
                      <a:pt x="116028" y="146081"/>
                    </a:cubicBezTo>
                    <a:cubicBezTo>
                      <a:pt x="105150" y="153295"/>
                      <a:pt x="90646" y="156901"/>
                      <a:pt x="76143" y="156901"/>
                    </a:cubicBezTo>
                    <a:cubicBezTo>
                      <a:pt x="63453" y="156901"/>
                      <a:pt x="50762" y="153295"/>
                      <a:pt x="38072" y="146081"/>
                    </a:cubicBezTo>
                    <a:moveTo>
                      <a:pt x="108776" y="135260"/>
                    </a:moveTo>
                    <a:cubicBezTo>
                      <a:pt x="117840" y="129849"/>
                      <a:pt x="125092" y="122636"/>
                      <a:pt x="130531" y="111815"/>
                    </a:cubicBezTo>
                    <a:cubicBezTo>
                      <a:pt x="135970" y="102797"/>
                      <a:pt x="137783" y="90173"/>
                      <a:pt x="137783" y="77549"/>
                    </a:cubicBezTo>
                    <a:cubicBezTo>
                      <a:pt x="137783" y="64925"/>
                      <a:pt x="135970" y="52300"/>
                      <a:pt x="130531" y="43283"/>
                    </a:cubicBezTo>
                    <a:cubicBezTo>
                      <a:pt x="125092" y="34266"/>
                      <a:pt x="117840" y="25249"/>
                      <a:pt x="108776" y="19838"/>
                    </a:cubicBezTo>
                    <a:cubicBezTo>
                      <a:pt x="99711" y="14428"/>
                      <a:pt x="88834" y="12624"/>
                      <a:pt x="77956" y="12624"/>
                    </a:cubicBezTo>
                    <a:cubicBezTo>
                      <a:pt x="67078" y="12624"/>
                      <a:pt x="56201" y="14428"/>
                      <a:pt x="47136" y="19838"/>
                    </a:cubicBezTo>
                    <a:cubicBezTo>
                      <a:pt x="38072" y="25249"/>
                      <a:pt x="30820" y="32462"/>
                      <a:pt x="25381" y="43283"/>
                    </a:cubicBezTo>
                    <a:cubicBezTo>
                      <a:pt x="19942" y="52300"/>
                      <a:pt x="18129" y="64925"/>
                      <a:pt x="18129" y="77549"/>
                    </a:cubicBezTo>
                    <a:cubicBezTo>
                      <a:pt x="18129" y="90173"/>
                      <a:pt x="19942" y="102797"/>
                      <a:pt x="25381" y="111815"/>
                    </a:cubicBezTo>
                    <a:cubicBezTo>
                      <a:pt x="30820" y="120832"/>
                      <a:pt x="38072" y="129849"/>
                      <a:pt x="47136" y="135260"/>
                    </a:cubicBezTo>
                    <a:cubicBezTo>
                      <a:pt x="56201" y="140670"/>
                      <a:pt x="67078" y="142474"/>
                      <a:pt x="77956" y="142474"/>
                    </a:cubicBezTo>
                    <a:cubicBezTo>
                      <a:pt x="88834" y="142474"/>
                      <a:pt x="99711" y="140670"/>
                      <a:pt x="108776" y="135260"/>
                    </a:cubicBezTo>
                  </a:path>
                </a:pathLst>
              </a:custGeom>
              <a:solidFill>
                <a:srgbClr val="224F70"/>
              </a:solidFill>
              <a:ln w="18105" cap="flat">
                <a:noFill/>
                <a:prstDash val="solid"/>
                <a:miter/>
              </a:ln>
            </p:spPr>
            <p:txBody>
              <a:bodyPr rtlCol="0" anchor="ctr"/>
              <a:lstStyle/>
              <a:p>
                <a:endParaRPr lang="en-US"/>
              </a:p>
            </p:txBody>
          </p:sp>
          <p:sp>
            <p:nvSpPr>
              <p:cNvPr id="28" name="Forma libre 35">
                <a:extLst>
                  <a:ext uri="{FF2B5EF4-FFF2-40B4-BE49-F238E27FC236}">
                    <a16:creationId xmlns:a16="http://schemas.microsoft.com/office/drawing/2014/main" id="{250A576E-A93D-4355-9352-29D059BA7DDA}"/>
                  </a:ext>
                </a:extLst>
              </p:cNvPr>
              <p:cNvSpPr/>
              <p:nvPr/>
            </p:nvSpPr>
            <p:spPr>
              <a:xfrm>
                <a:off x="3083201" y="3388885"/>
                <a:ext cx="130531" cy="151490"/>
              </a:xfrm>
              <a:custGeom>
                <a:avLst/>
                <a:gdLst>
                  <a:gd name="connsiteX0" fmla="*/ 99711 w 130531"/>
                  <a:gd name="connsiteY0" fmla="*/ 115422 h 151490"/>
                  <a:gd name="connsiteX1" fmla="*/ 29007 w 130531"/>
                  <a:gd name="connsiteY1" fmla="*/ 115422 h 151490"/>
                  <a:gd name="connsiteX2" fmla="*/ 16317 w 130531"/>
                  <a:gd name="connsiteY2" fmla="*/ 151491 h 151490"/>
                  <a:gd name="connsiteX3" fmla="*/ 0 w 130531"/>
                  <a:gd name="connsiteY3" fmla="*/ 151491 h 151490"/>
                  <a:gd name="connsiteX4" fmla="*/ 56201 w 130531"/>
                  <a:gd name="connsiteY4" fmla="*/ 0 h 151490"/>
                  <a:gd name="connsiteX5" fmla="*/ 74330 w 130531"/>
                  <a:gd name="connsiteY5" fmla="*/ 0 h 151490"/>
                  <a:gd name="connsiteX6" fmla="*/ 130531 w 130531"/>
                  <a:gd name="connsiteY6" fmla="*/ 151491 h 151490"/>
                  <a:gd name="connsiteX7" fmla="*/ 114215 w 130531"/>
                  <a:gd name="connsiteY7" fmla="*/ 151491 h 151490"/>
                  <a:gd name="connsiteX8" fmla="*/ 99711 w 130531"/>
                  <a:gd name="connsiteY8" fmla="*/ 115422 h 151490"/>
                  <a:gd name="connsiteX9" fmla="*/ 96085 w 130531"/>
                  <a:gd name="connsiteY9" fmla="*/ 102797 h 151490"/>
                  <a:gd name="connsiteX10" fmla="*/ 65266 w 130531"/>
                  <a:gd name="connsiteY10" fmla="*/ 19838 h 151490"/>
                  <a:gd name="connsiteX11" fmla="*/ 34446 w 130531"/>
                  <a:gd name="connsiteY11" fmla="*/ 102797 h 151490"/>
                  <a:gd name="connsiteX12" fmla="*/ 96085 w 130531"/>
                  <a:gd name="connsiteY12" fmla="*/ 102797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531" h="151490">
                    <a:moveTo>
                      <a:pt x="99711" y="115422"/>
                    </a:moveTo>
                    <a:lnTo>
                      <a:pt x="29007" y="115422"/>
                    </a:lnTo>
                    <a:lnTo>
                      <a:pt x="16317" y="151491"/>
                    </a:lnTo>
                    <a:lnTo>
                      <a:pt x="0" y="151491"/>
                    </a:lnTo>
                    <a:lnTo>
                      <a:pt x="56201" y="0"/>
                    </a:lnTo>
                    <a:lnTo>
                      <a:pt x="74330" y="0"/>
                    </a:lnTo>
                    <a:lnTo>
                      <a:pt x="130531" y="151491"/>
                    </a:lnTo>
                    <a:lnTo>
                      <a:pt x="114215" y="151491"/>
                    </a:lnTo>
                    <a:lnTo>
                      <a:pt x="99711" y="115422"/>
                    </a:lnTo>
                    <a:close/>
                    <a:moveTo>
                      <a:pt x="96085" y="102797"/>
                    </a:moveTo>
                    <a:lnTo>
                      <a:pt x="65266" y="19838"/>
                    </a:lnTo>
                    <a:lnTo>
                      <a:pt x="34446" y="102797"/>
                    </a:lnTo>
                    <a:lnTo>
                      <a:pt x="96085" y="102797"/>
                    </a:lnTo>
                    <a:close/>
                  </a:path>
                </a:pathLst>
              </a:custGeom>
              <a:solidFill>
                <a:srgbClr val="224F70"/>
              </a:solidFill>
              <a:ln w="18105" cap="flat">
                <a:noFill/>
                <a:prstDash val="solid"/>
                <a:miter/>
              </a:ln>
            </p:spPr>
            <p:txBody>
              <a:bodyPr rtlCol="0" anchor="ctr"/>
              <a:lstStyle/>
              <a:p>
                <a:endParaRPr lang="en-US"/>
              </a:p>
            </p:txBody>
          </p:sp>
          <p:sp>
            <p:nvSpPr>
              <p:cNvPr id="29" name="Forma libre 36">
                <a:extLst>
                  <a:ext uri="{FF2B5EF4-FFF2-40B4-BE49-F238E27FC236}">
                    <a16:creationId xmlns:a16="http://schemas.microsoft.com/office/drawing/2014/main" id="{60E79853-F8DB-4CDB-B8A5-53E8BD0A9F9C}"/>
                  </a:ext>
                </a:extLst>
              </p:cNvPr>
              <p:cNvSpPr/>
              <p:nvPr/>
            </p:nvSpPr>
            <p:spPr>
              <a:xfrm>
                <a:off x="3342450" y="3390689"/>
                <a:ext cx="150473" cy="151490"/>
              </a:xfrm>
              <a:custGeom>
                <a:avLst/>
                <a:gdLst>
                  <a:gd name="connsiteX0" fmla="*/ 150473 w 150473"/>
                  <a:gd name="connsiteY0" fmla="*/ 0 h 151490"/>
                  <a:gd name="connsiteX1" fmla="*/ 150473 w 150473"/>
                  <a:gd name="connsiteY1" fmla="*/ 151491 h 151490"/>
                  <a:gd name="connsiteX2" fmla="*/ 135970 w 150473"/>
                  <a:gd name="connsiteY2" fmla="*/ 151491 h 151490"/>
                  <a:gd name="connsiteX3" fmla="*/ 135970 w 150473"/>
                  <a:gd name="connsiteY3" fmla="*/ 30659 h 151490"/>
                  <a:gd name="connsiteX4" fmla="*/ 81582 w 150473"/>
                  <a:gd name="connsiteY4" fmla="*/ 151491 h 151490"/>
                  <a:gd name="connsiteX5" fmla="*/ 68891 w 150473"/>
                  <a:gd name="connsiteY5" fmla="*/ 151491 h 151490"/>
                  <a:gd name="connsiteX6" fmla="*/ 14503 w 150473"/>
                  <a:gd name="connsiteY6" fmla="*/ 30659 h 151490"/>
                  <a:gd name="connsiteX7" fmla="*/ 14503 w 150473"/>
                  <a:gd name="connsiteY7" fmla="*/ 151491 h 151490"/>
                  <a:gd name="connsiteX8" fmla="*/ 0 w 150473"/>
                  <a:gd name="connsiteY8" fmla="*/ 151491 h 151490"/>
                  <a:gd name="connsiteX9" fmla="*/ 0 w 150473"/>
                  <a:gd name="connsiteY9" fmla="*/ 0 h 151490"/>
                  <a:gd name="connsiteX10" fmla="*/ 16317 w 150473"/>
                  <a:gd name="connsiteY10" fmla="*/ 0 h 151490"/>
                  <a:gd name="connsiteX11" fmla="*/ 76143 w 150473"/>
                  <a:gd name="connsiteY11" fmla="*/ 131653 h 151490"/>
                  <a:gd name="connsiteX12" fmla="*/ 134157 w 150473"/>
                  <a:gd name="connsiteY12" fmla="*/ 0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473" h="151490">
                    <a:moveTo>
                      <a:pt x="150473" y="0"/>
                    </a:moveTo>
                    <a:lnTo>
                      <a:pt x="150473" y="151491"/>
                    </a:lnTo>
                    <a:lnTo>
                      <a:pt x="135970" y="151491"/>
                    </a:lnTo>
                    <a:lnTo>
                      <a:pt x="135970" y="30659"/>
                    </a:lnTo>
                    <a:lnTo>
                      <a:pt x="81582" y="151491"/>
                    </a:lnTo>
                    <a:lnTo>
                      <a:pt x="68891" y="151491"/>
                    </a:lnTo>
                    <a:lnTo>
                      <a:pt x="14503" y="30659"/>
                    </a:lnTo>
                    <a:lnTo>
                      <a:pt x="14503" y="151491"/>
                    </a:lnTo>
                    <a:lnTo>
                      <a:pt x="0" y="151491"/>
                    </a:lnTo>
                    <a:lnTo>
                      <a:pt x="0" y="0"/>
                    </a:lnTo>
                    <a:lnTo>
                      <a:pt x="16317" y="0"/>
                    </a:lnTo>
                    <a:lnTo>
                      <a:pt x="76143" y="131653"/>
                    </a:lnTo>
                    <a:lnTo>
                      <a:pt x="134157" y="0"/>
                    </a:lnTo>
                    <a:close/>
                  </a:path>
                </a:pathLst>
              </a:custGeom>
              <a:solidFill>
                <a:srgbClr val="224F70"/>
              </a:solidFill>
              <a:ln w="18105" cap="flat">
                <a:noFill/>
                <a:prstDash val="solid"/>
                <a:miter/>
              </a:ln>
            </p:spPr>
            <p:txBody>
              <a:bodyPr rtlCol="0" anchor="ctr"/>
              <a:lstStyle/>
              <a:p>
                <a:endParaRPr lang="en-US"/>
              </a:p>
            </p:txBody>
          </p:sp>
          <p:sp>
            <p:nvSpPr>
              <p:cNvPr id="30" name="Forma libre 37">
                <a:extLst>
                  <a:ext uri="{FF2B5EF4-FFF2-40B4-BE49-F238E27FC236}">
                    <a16:creationId xmlns:a16="http://schemas.microsoft.com/office/drawing/2014/main" id="{9096A282-4A11-41BE-BEAE-2D9F4AB7BDD0}"/>
                  </a:ext>
                </a:extLst>
              </p:cNvPr>
              <p:cNvSpPr/>
              <p:nvPr/>
            </p:nvSpPr>
            <p:spPr>
              <a:xfrm>
                <a:off x="3632519" y="3340192"/>
                <a:ext cx="81581" cy="200184"/>
              </a:xfrm>
              <a:custGeom>
                <a:avLst/>
                <a:gdLst>
                  <a:gd name="connsiteX0" fmla="*/ 16317 w 81581"/>
                  <a:gd name="connsiteY0" fmla="*/ 59514 h 200184"/>
                  <a:gd name="connsiteX1" fmla="*/ 16317 w 81581"/>
                  <a:gd name="connsiteY1" fmla="*/ 117225 h 200184"/>
                  <a:gd name="connsiteX2" fmla="*/ 74330 w 81581"/>
                  <a:gd name="connsiteY2" fmla="*/ 117225 h 200184"/>
                  <a:gd name="connsiteX3" fmla="*/ 74330 w 81581"/>
                  <a:gd name="connsiteY3" fmla="*/ 129849 h 200184"/>
                  <a:gd name="connsiteX4" fmla="*/ 16317 w 81581"/>
                  <a:gd name="connsiteY4" fmla="*/ 129849 h 200184"/>
                  <a:gd name="connsiteX5" fmla="*/ 16317 w 81581"/>
                  <a:gd name="connsiteY5" fmla="*/ 187560 h 200184"/>
                  <a:gd name="connsiteX6" fmla="*/ 81582 w 81581"/>
                  <a:gd name="connsiteY6" fmla="*/ 187560 h 200184"/>
                  <a:gd name="connsiteX7" fmla="*/ 81582 w 81581"/>
                  <a:gd name="connsiteY7" fmla="*/ 200185 h 200184"/>
                  <a:gd name="connsiteX8" fmla="*/ 0 w 81581"/>
                  <a:gd name="connsiteY8" fmla="*/ 200185 h 200184"/>
                  <a:gd name="connsiteX9" fmla="*/ 0 w 81581"/>
                  <a:gd name="connsiteY9" fmla="*/ 46890 h 200184"/>
                  <a:gd name="connsiteX10" fmla="*/ 81582 w 81581"/>
                  <a:gd name="connsiteY10" fmla="*/ 46890 h 200184"/>
                  <a:gd name="connsiteX11" fmla="*/ 81582 w 81581"/>
                  <a:gd name="connsiteY11" fmla="*/ 59514 h 200184"/>
                  <a:gd name="connsiteX12" fmla="*/ 16317 w 81581"/>
                  <a:gd name="connsiteY12" fmla="*/ 59514 h 200184"/>
                  <a:gd name="connsiteX13" fmla="*/ 58014 w 81581"/>
                  <a:gd name="connsiteY13" fmla="*/ 14428 h 200184"/>
                  <a:gd name="connsiteX14" fmla="*/ 12690 w 81581"/>
                  <a:gd name="connsiteY14" fmla="*/ 41480 h 200184"/>
                  <a:gd name="connsiteX15" fmla="*/ 12690 w 81581"/>
                  <a:gd name="connsiteY15" fmla="*/ 28855 h 200184"/>
                  <a:gd name="connsiteX16" fmla="*/ 58014 w 81581"/>
                  <a:gd name="connsiteY16" fmla="*/ 0 h 200184"/>
                  <a:gd name="connsiteX17" fmla="*/ 58014 w 81581"/>
                  <a:gd name="connsiteY17" fmla="*/ 14428 h 20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81" h="200184">
                    <a:moveTo>
                      <a:pt x="16317" y="59514"/>
                    </a:moveTo>
                    <a:lnTo>
                      <a:pt x="16317" y="117225"/>
                    </a:lnTo>
                    <a:lnTo>
                      <a:pt x="74330" y="117225"/>
                    </a:lnTo>
                    <a:lnTo>
                      <a:pt x="74330" y="129849"/>
                    </a:lnTo>
                    <a:lnTo>
                      <a:pt x="16317" y="129849"/>
                    </a:lnTo>
                    <a:lnTo>
                      <a:pt x="16317" y="187560"/>
                    </a:lnTo>
                    <a:lnTo>
                      <a:pt x="81582" y="187560"/>
                    </a:lnTo>
                    <a:lnTo>
                      <a:pt x="81582" y="200185"/>
                    </a:lnTo>
                    <a:lnTo>
                      <a:pt x="0" y="200185"/>
                    </a:lnTo>
                    <a:lnTo>
                      <a:pt x="0" y="46890"/>
                    </a:lnTo>
                    <a:lnTo>
                      <a:pt x="81582" y="46890"/>
                    </a:lnTo>
                    <a:lnTo>
                      <a:pt x="81582" y="59514"/>
                    </a:lnTo>
                    <a:lnTo>
                      <a:pt x="16317" y="59514"/>
                    </a:lnTo>
                    <a:close/>
                    <a:moveTo>
                      <a:pt x="58014" y="14428"/>
                    </a:moveTo>
                    <a:lnTo>
                      <a:pt x="12690" y="41480"/>
                    </a:lnTo>
                    <a:lnTo>
                      <a:pt x="12690" y="28855"/>
                    </a:lnTo>
                    <a:lnTo>
                      <a:pt x="58014" y="0"/>
                    </a:lnTo>
                    <a:lnTo>
                      <a:pt x="58014" y="14428"/>
                    </a:lnTo>
                    <a:close/>
                  </a:path>
                </a:pathLst>
              </a:custGeom>
              <a:solidFill>
                <a:srgbClr val="224F70"/>
              </a:solidFill>
              <a:ln w="18105" cap="flat">
                <a:noFill/>
                <a:prstDash val="solid"/>
                <a:miter/>
              </a:ln>
            </p:spPr>
            <p:txBody>
              <a:bodyPr rtlCol="0" anchor="ctr"/>
              <a:lstStyle/>
              <a:p>
                <a:endParaRPr lang="en-US"/>
              </a:p>
            </p:txBody>
          </p:sp>
          <p:sp>
            <p:nvSpPr>
              <p:cNvPr id="31" name="Forma libre 38">
                <a:extLst>
                  <a:ext uri="{FF2B5EF4-FFF2-40B4-BE49-F238E27FC236}">
                    <a16:creationId xmlns:a16="http://schemas.microsoft.com/office/drawing/2014/main" id="{7AF38943-27F2-445F-9CF6-46364F6847AD}"/>
                  </a:ext>
                </a:extLst>
              </p:cNvPr>
              <p:cNvSpPr/>
              <p:nvPr/>
            </p:nvSpPr>
            <p:spPr>
              <a:xfrm>
                <a:off x="3846444" y="3388885"/>
                <a:ext cx="101524" cy="153294"/>
              </a:xfrm>
              <a:custGeom>
                <a:avLst/>
                <a:gdLst>
                  <a:gd name="connsiteX0" fmla="*/ 83395 w 101524"/>
                  <a:gd name="connsiteY0" fmla="*/ 153294 h 153294"/>
                  <a:gd name="connsiteX1" fmla="*/ 45323 w 101524"/>
                  <a:gd name="connsiteY1" fmla="*/ 88370 h 153294"/>
                  <a:gd name="connsiteX2" fmla="*/ 16316 w 101524"/>
                  <a:gd name="connsiteY2" fmla="*/ 88370 h 153294"/>
                  <a:gd name="connsiteX3" fmla="*/ 16316 w 101524"/>
                  <a:gd name="connsiteY3" fmla="*/ 153294 h 153294"/>
                  <a:gd name="connsiteX4" fmla="*/ 0 w 101524"/>
                  <a:gd name="connsiteY4" fmla="*/ 153294 h 153294"/>
                  <a:gd name="connsiteX5" fmla="*/ 0 w 101524"/>
                  <a:gd name="connsiteY5" fmla="*/ 0 h 153294"/>
                  <a:gd name="connsiteX6" fmla="*/ 47136 w 101524"/>
                  <a:gd name="connsiteY6" fmla="*/ 0 h 153294"/>
                  <a:gd name="connsiteX7" fmla="*/ 87021 w 101524"/>
                  <a:gd name="connsiteY7" fmla="*/ 12624 h 153294"/>
                  <a:gd name="connsiteX8" fmla="*/ 99711 w 101524"/>
                  <a:gd name="connsiteY8" fmla="*/ 45087 h 153294"/>
                  <a:gd name="connsiteX9" fmla="*/ 90646 w 101524"/>
                  <a:gd name="connsiteY9" fmla="*/ 73942 h 153294"/>
                  <a:gd name="connsiteX10" fmla="*/ 61639 w 101524"/>
                  <a:gd name="connsiteY10" fmla="*/ 88370 h 153294"/>
                  <a:gd name="connsiteX11" fmla="*/ 101524 w 101524"/>
                  <a:gd name="connsiteY11" fmla="*/ 153294 h 153294"/>
                  <a:gd name="connsiteX12" fmla="*/ 83395 w 101524"/>
                  <a:gd name="connsiteY12" fmla="*/ 153294 h 153294"/>
                  <a:gd name="connsiteX13" fmla="*/ 16316 w 101524"/>
                  <a:gd name="connsiteY13" fmla="*/ 75745 h 153294"/>
                  <a:gd name="connsiteX14" fmla="*/ 47136 w 101524"/>
                  <a:gd name="connsiteY14" fmla="*/ 75745 h 153294"/>
                  <a:gd name="connsiteX15" fmla="*/ 74330 w 101524"/>
                  <a:gd name="connsiteY15" fmla="*/ 66728 h 153294"/>
                  <a:gd name="connsiteX16" fmla="*/ 83395 w 101524"/>
                  <a:gd name="connsiteY16" fmla="*/ 43283 h 153294"/>
                  <a:gd name="connsiteX17" fmla="*/ 74330 w 101524"/>
                  <a:gd name="connsiteY17" fmla="*/ 19838 h 153294"/>
                  <a:gd name="connsiteX18" fmla="*/ 47136 w 101524"/>
                  <a:gd name="connsiteY18" fmla="*/ 10821 h 153294"/>
                  <a:gd name="connsiteX19" fmla="*/ 16316 w 101524"/>
                  <a:gd name="connsiteY19" fmla="*/ 10821 h 153294"/>
                  <a:gd name="connsiteX20" fmla="*/ 16316 w 101524"/>
                  <a:gd name="connsiteY20" fmla="*/ 75745 h 15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1524" h="153294">
                    <a:moveTo>
                      <a:pt x="83395" y="153294"/>
                    </a:moveTo>
                    <a:lnTo>
                      <a:pt x="45323" y="88370"/>
                    </a:lnTo>
                    <a:lnTo>
                      <a:pt x="16316" y="88370"/>
                    </a:lnTo>
                    <a:lnTo>
                      <a:pt x="16316" y="153294"/>
                    </a:lnTo>
                    <a:lnTo>
                      <a:pt x="0" y="153294"/>
                    </a:lnTo>
                    <a:lnTo>
                      <a:pt x="0" y="0"/>
                    </a:lnTo>
                    <a:lnTo>
                      <a:pt x="47136" y="0"/>
                    </a:lnTo>
                    <a:cubicBezTo>
                      <a:pt x="65266" y="0"/>
                      <a:pt x="77956" y="3607"/>
                      <a:pt x="87021" y="12624"/>
                    </a:cubicBezTo>
                    <a:cubicBezTo>
                      <a:pt x="96085" y="21642"/>
                      <a:pt x="99711" y="32462"/>
                      <a:pt x="99711" y="45087"/>
                    </a:cubicBezTo>
                    <a:cubicBezTo>
                      <a:pt x="99711" y="55907"/>
                      <a:pt x="96085" y="64925"/>
                      <a:pt x="90646" y="73942"/>
                    </a:cubicBezTo>
                    <a:cubicBezTo>
                      <a:pt x="83395" y="81156"/>
                      <a:pt x="74330" y="86566"/>
                      <a:pt x="61639" y="88370"/>
                    </a:cubicBezTo>
                    <a:lnTo>
                      <a:pt x="101524" y="153294"/>
                    </a:lnTo>
                    <a:lnTo>
                      <a:pt x="83395" y="153294"/>
                    </a:lnTo>
                    <a:close/>
                    <a:moveTo>
                      <a:pt x="16316" y="75745"/>
                    </a:moveTo>
                    <a:lnTo>
                      <a:pt x="47136" y="75745"/>
                    </a:lnTo>
                    <a:cubicBezTo>
                      <a:pt x="59827" y="75745"/>
                      <a:pt x="68891" y="72139"/>
                      <a:pt x="74330" y="66728"/>
                    </a:cubicBezTo>
                    <a:cubicBezTo>
                      <a:pt x="79769" y="61318"/>
                      <a:pt x="83395" y="52300"/>
                      <a:pt x="83395" y="43283"/>
                    </a:cubicBezTo>
                    <a:cubicBezTo>
                      <a:pt x="83395" y="32462"/>
                      <a:pt x="79769" y="25248"/>
                      <a:pt x="74330" y="19838"/>
                    </a:cubicBezTo>
                    <a:cubicBezTo>
                      <a:pt x="68891" y="14428"/>
                      <a:pt x="59827" y="10821"/>
                      <a:pt x="47136" y="10821"/>
                    </a:cubicBezTo>
                    <a:lnTo>
                      <a:pt x="16316" y="10821"/>
                    </a:lnTo>
                    <a:lnTo>
                      <a:pt x="16316" y="75745"/>
                    </a:lnTo>
                    <a:close/>
                  </a:path>
                </a:pathLst>
              </a:custGeom>
              <a:solidFill>
                <a:srgbClr val="224F70"/>
              </a:solidFill>
              <a:ln w="18105" cap="flat">
                <a:noFill/>
                <a:prstDash val="solid"/>
                <a:miter/>
              </a:ln>
            </p:spPr>
            <p:txBody>
              <a:bodyPr rtlCol="0" anchor="ctr"/>
              <a:lstStyle/>
              <a:p>
                <a:endParaRPr lang="en-US"/>
              </a:p>
            </p:txBody>
          </p:sp>
          <p:sp>
            <p:nvSpPr>
              <p:cNvPr id="32" name="Forma libre 39">
                <a:extLst>
                  <a:ext uri="{FF2B5EF4-FFF2-40B4-BE49-F238E27FC236}">
                    <a16:creationId xmlns:a16="http://schemas.microsoft.com/office/drawing/2014/main" id="{1E9A4664-EF3F-4114-9D04-5F267169ED1A}"/>
                  </a:ext>
                </a:extLst>
              </p:cNvPr>
              <p:cNvSpPr/>
              <p:nvPr/>
            </p:nvSpPr>
            <p:spPr>
              <a:xfrm>
                <a:off x="4082125" y="3387082"/>
                <a:ext cx="16316" cy="153294"/>
              </a:xfrm>
              <a:custGeom>
                <a:avLst/>
                <a:gdLst>
                  <a:gd name="connsiteX0" fmla="*/ 0 w 16316"/>
                  <a:gd name="connsiteY0" fmla="*/ 0 h 153294"/>
                  <a:gd name="connsiteX1" fmla="*/ 16316 w 16316"/>
                  <a:gd name="connsiteY1" fmla="*/ 0 h 153294"/>
                  <a:gd name="connsiteX2" fmla="*/ 16316 w 16316"/>
                  <a:gd name="connsiteY2" fmla="*/ 153294 h 153294"/>
                  <a:gd name="connsiteX3" fmla="*/ 0 w 16316"/>
                  <a:gd name="connsiteY3" fmla="*/ 153294 h 153294"/>
                </a:gdLst>
                <a:ahLst/>
                <a:cxnLst>
                  <a:cxn ang="0">
                    <a:pos x="connsiteX0" y="connsiteY0"/>
                  </a:cxn>
                  <a:cxn ang="0">
                    <a:pos x="connsiteX1" y="connsiteY1"/>
                  </a:cxn>
                  <a:cxn ang="0">
                    <a:pos x="connsiteX2" y="connsiteY2"/>
                  </a:cxn>
                  <a:cxn ang="0">
                    <a:pos x="connsiteX3" y="connsiteY3"/>
                  </a:cxn>
                </a:cxnLst>
                <a:rect l="l" t="t" r="r" b="b"/>
                <a:pathLst>
                  <a:path w="16316" h="153294">
                    <a:moveTo>
                      <a:pt x="0" y="0"/>
                    </a:moveTo>
                    <a:lnTo>
                      <a:pt x="16316" y="0"/>
                    </a:lnTo>
                    <a:lnTo>
                      <a:pt x="16316" y="153294"/>
                    </a:lnTo>
                    <a:lnTo>
                      <a:pt x="0" y="153294"/>
                    </a:lnTo>
                    <a:close/>
                  </a:path>
                </a:pathLst>
              </a:custGeom>
              <a:solidFill>
                <a:srgbClr val="224F70"/>
              </a:solidFill>
              <a:ln w="18105" cap="flat">
                <a:noFill/>
                <a:prstDash val="solid"/>
                <a:miter/>
              </a:ln>
            </p:spPr>
            <p:txBody>
              <a:bodyPr rtlCol="0" anchor="ctr"/>
              <a:lstStyle/>
              <a:p>
                <a:endParaRPr lang="en-US"/>
              </a:p>
            </p:txBody>
          </p:sp>
          <p:sp>
            <p:nvSpPr>
              <p:cNvPr id="33" name="Forma libre 40">
                <a:extLst>
                  <a:ext uri="{FF2B5EF4-FFF2-40B4-BE49-F238E27FC236}">
                    <a16:creationId xmlns:a16="http://schemas.microsoft.com/office/drawing/2014/main" id="{6CD29A94-D54E-4FAA-8F37-7135E8E4AC63}"/>
                  </a:ext>
                </a:extLst>
              </p:cNvPr>
              <p:cNvSpPr/>
              <p:nvPr/>
            </p:nvSpPr>
            <p:spPr>
              <a:xfrm>
                <a:off x="4230323" y="3387082"/>
                <a:ext cx="145496" cy="156901"/>
              </a:xfrm>
              <a:custGeom>
                <a:avLst/>
                <a:gdLst>
                  <a:gd name="connsiteX0" fmla="*/ 9527 w 145496"/>
                  <a:gd name="connsiteY0" fmla="*/ 37873 h 156901"/>
                  <a:gd name="connsiteX1" fmla="*/ 36721 w 145496"/>
                  <a:gd name="connsiteY1" fmla="*/ 10821 h 156901"/>
                  <a:gd name="connsiteX2" fmla="*/ 74792 w 145496"/>
                  <a:gd name="connsiteY2" fmla="*/ 0 h 156901"/>
                  <a:gd name="connsiteX3" fmla="*/ 118302 w 145496"/>
                  <a:gd name="connsiteY3" fmla="*/ 12624 h 156901"/>
                  <a:gd name="connsiteX4" fmla="*/ 145496 w 145496"/>
                  <a:gd name="connsiteY4" fmla="*/ 46890 h 156901"/>
                  <a:gd name="connsiteX5" fmla="*/ 127367 w 145496"/>
                  <a:gd name="connsiteY5" fmla="*/ 46890 h 156901"/>
                  <a:gd name="connsiteX6" fmla="*/ 107425 w 145496"/>
                  <a:gd name="connsiteY6" fmla="*/ 21642 h 156901"/>
                  <a:gd name="connsiteX7" fmla="*/ 74792 w 145496"/>
                  <a:gd name="connsiteY7" fmla="*/ 12624 h 156901"/>
                  <a:gd name="connsiteX8" fmla="*/ 43972 w 145496"/>
                  <a:gd name="connsiteY8" fmla="*/ 19838 h 156901"/>
                  <a:gd name="connsiteX9" fmla="*/ 22217 w 145496"/>
                  <a:gd name="connsiteY9" fmla="*/ 43283 h 156901"/>
                  <a:gd name="connsiteX10" fmla="*/ 14965 w 145496"/>
                  <a:gd name="connsiteY10" fmla="*/ 77549 h 156901"/>
                  <a:gd name="connsiteX11" fmla="*/ 22217 w 145496"/>
                  <a:gd name="connsiteY11" fmla="*/ 111815 h 156901"/>
                  <a:gd name="connsiteX12" fmla="*/ 43972 w 145496"/>
                  <a:gd name="connsiteY12" fmla="*/ 135260 h 156901"/>
                  <a:gd name="connsiteX13" fmla="*/ 74792 w 145496"/>
                  <a:gd name="connsiteY13" fmla="*/ 142474 h 156901"/>
                  <a:gd name="connsiteX14" fmla="*/ 107425 w 145496"/>
                  <a:gd name="connsiteY14" fmla="*/ 133456 h 156901"/>
                  <a:gd name="connsiteX15" fmla="*/ 127367 w 145496"/>
                  <a:gd name="connsiteY15" fmla="*/ 110011 h 156901"/>
                  <a:gd name="connsiteX16" fmla="*/ 145496 w 145496"/>
                  <a:gd name="connsiteY16" fmla="*/ 110011 h 156901"/>
                  <a:gd name="connsiteX17" fmla="*/ 118302 w 145496"/>
                  <a:gd name="connsiteY17" fmla="*/ 144277 h 156901"/>
                  <a:gd name="connsiteX18" fmla="*/ 74792 w 145496"/>
                  <a:gd name="connsiteY18" fmla="*/ 156901 h 156901"/>
                  <a:gd name="connsiteX19" fmla="*/ 36721 w 145496"/>
                  <a:gd name="connsiteY19" fmla="*/ 146081 h 156901"/>
                  <a:gd name="connsiteX20" fmla="*/ 9527 w 145496"/>
                  <a:gd name="connsiteY20" fmla="*/ 119029 h 156901"/>
                  <a:gd name="connsiteX21" fmla="*/ 462 w 145496"/>
                  <a:gd name="connsiteY21" fmla="*/ 79352 h 156901"/>
                  <a:gd name="connsiteX22" fmla="*/ 9527 w 145496"/>
                  <a:gd name="connsiteY22" fmla="*/ 37873 h 15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496" h="156901">
                    <a:moveTo>
                      <a:pt x="9527" y="37873"/>
                    </a:moveTo>
                    <a:cubicBezTo>
                      <a:pt x="16778" y="25249"/>
                      <a:pt x="25843" y="16231"/>
                      <a:pt x="36721" y="10821"/>
                    </a:cubicBezTo>
                    <a:cubicBezTo>
                      <a:pt x="47598" y="3607"/>
                      <a:pt x="60289" y="0"/>
                      <a:pt x="74792" y="0"/>
                    </a:cubicBezTo>
                    <a:cubicBezTo>
                      <a:pt x="92921" y="0"/>
                      <a:pt x="107425" y="3607"/>
                      <a:pt x="118302" y="12624"/>
                    </a:cubicBezTo>
                    <a:cubicBezTo>
                      <a:pt x="130993" y="21642"/>
                      <a:pt x="140057" y="32462"/>
                      <a:pt x="145496" y="46890"/>
                    </a:cubicBezTo>
                    <a:lnTo>
                      <a:pt x="127367" y="46890"/>
                    </a:lnTo>
                    <a:cubicBezTo>
                      <a:pt x="123741" y="36069"/>
                      <a:pt x="116490" y="28855"/>
                      <a:pt x="107425" y="21642"/>
                    </a:cubicBezTo>
                    <a:cubicBezTo>
                      <a:pt x="98360" y="16231"/>
                      <a:pt x="87483" y="12624"/>
                      <a:pt x="74792" y="12624"/>
                    </a:cubicBezTo>
                    <a:cubicBezTo>
                      <a:pt x="63914" y="12624"/>
                      <a:pt x="53037" y="14428"/>
                      <a:pt x="43972" y="19838"/>
                    </a:cubicBezTo>
                    <a:cubicBezTo>
                      <a:pt x="34908" y="25249"/>
                      <a:pt x="27656" y="32462"/>
                      <a:pt x="22217" y="43283"/>
                    </a:cubicBezTo>
                    <a:cubicBezTo>
                      <a:pt x="16778" y="52300"/>
                      <a:pt x="14965" y="64925"/>
                      <a:pt x="14965" y="77549"/>
                    </a:cubicBezTo>
                    <a:cubicBezTo>
                      <a:pt x="14965" y="90173"/>
                      <a:pt x="16778" y="102797"/>
                      <a:pt x="22217" y="111815"/>
                    </a:cubicBezTo>
                    <a:cubicBezTo>
                      <a:pt x="27656" y="120832"/>
                      <a:pt x="34908" y="129849"/>
                      <a:pt x="43972" y="135260"/>
                    </a:cubicBezTo>
                    <a:cubicBezTo>
                      <a:pt x="53037" y="140670"/>
                      <a:pt x="63914" y="142474"/>
                      <a:pt x="74792" y="142474"/>
                    </a:cubicBezTo>
                    <a:cubicBezTo>
                      <a:pt x="87483" y="142474"/>
                      <a:pt x="98360" y="138867"/>
                      <a:pt x="107425" y="133456"/>
                    </a:cubicBezTo>
                    <a:cubicBezTo>
                      <a:pt x="116490" y="128046"/>
                      <a:pt x="123741" y="119029"/>
                      <a:pt x="127367" y="110011"/>
                    </a:cubicBezTo>
                    <a:lnTo>
                      <a:pt x="145496" y="110011"/>
                    </a:lnTo>
                    <a:cubicBezTo>
                      <a:pt x="140057" y="124439"/>
                      <a:pt x="130993" y="135260"/>
                      <a:pt x="118302" y="144277"/>
                    </a:cubicBezTo>
                    <a:cubicBezTo>
                      <a:pt x="105612" y="151491"/>
                      <a:pt x="91108" y="156901"/>
                      <a:pt x="74792" y="156901"/>
                    </a:cubicBezTo>
                    <a:cubicBezTo>
                      <a:pt x="60289" y="156901"/>
                      <a:pt x="47598" y="153295"/>
                      <a:pt x="36721" y="146081"/>
                    </a:cubicBezTo>
                    <a:cubicBezTo>
                      <a:pt x="25843" y="138867"/>
                      <a:pt x="16778" y="129849"/>
                      <a:pt x="9527" y="119029"/>
                    </a:cubicBezTo>
                    <a:cubicBezTo>
                      <a:pt x="2275" y="106404"/>
                      <a:pt x="462" y="93780"/>
                      <a:pt x="462" y="79352"/>
                    </a:cubicBezTo>
                    <a:cubicBezTo>
                      <a:pt x="-1351" y="63121"/>
                      <a:pt x="2275" y="48694"/>
                      <a:pt x="9527" y="37873"/>
                    </a:cubicBezTo>
                  </a:path>
                </a:pathLst>
              </a:custGeom>
              <a:solidFill>
                <a:srgbClr val="224F70"/>
              </a:solidFill>
              <a:ln w="18105" cap="flat">
                <a:noFill/>
                <a:prstDash val="solid"/>
                <a:miter/>
              </a:ln>
            </p:spPr>
            <p:txBody>
              <a:bodyPr rtlCol="0" anchor="ctr"/>
              <a:lstStyle/>
              <a:p>
                <a:endParaRPr lang="en-US"/>
              </a:p>
            </p:txBody>
          </p:sp>
          <p:sp>
            <p:nvSpPr>
              <p:cNvPr id="34" name="Forma libre 41">
                <a:extLst>
                  <a:ext uri="{FF2B5EF4-FFF2-40B4-BE49-F238E27FC236}">
                    <a16:creationId xmlns:a16="http://schemas.microsoft.com/office/drawing/2014/main" id="{BB8EA423-40EC-42ED-9998-4AF88A69FEE6}"/>
                  </a:ext>
                </a:extLst>
              </p:cNvPr>
              <p:cNvSpPr/>
              <p:nvPr/>
            </p:nvSpPr>
            <p:spPr>
              <a:xfrm>
                <a:off x="4500912" y="3388885"/>
                <a:ext cx="130530" cy="151490"/>
              </a:xfrm>
              <a:custGeom>
                <a:avLst/>
                <a:gdLst>
                  <a:gd name="connsiteX0" fmla="*/ 99711 w 130530"/>
                  <a:gd name="connsiteY0" fmla="*/ 115422 h 151490"/>
                  <a:gd name="connsiteX1" fmla="*/ 29007 w 130530"/>
                  <a:gd name="connsiteY1" fmla="*/ 115422 h 151490"/>
                  <a:gd name="connsiteX2" fmla="*/ 16316 w 130530"/>
                  <a:gd name="connsiteY2" fmla="*/ 151491 h 151490"/>
                  <a:gd name="connsiteX3" fmla="*/ 0 w 130530"/>
                  <a:gd name="connsiteY3" fmla="*/ 151491 h 151490"/>
                  <a:gd name="connsiteX4" fmla="*/ 56201 w 130530"/>
                  <a:gd name="connsiteY4" fmla="*/ 0 h 151490"/>
                  <a:gd name="connsiteX5" fmla="*/ 74330 w 130530"/>
                  <a:gd name="connsiteY5" fmla="*/ 0 h 151490"/>
                  <a:gd name="connsiteX6" fmla="*/ 130531 w 130530"/>
                  <a:gd name="connsiteY6" fmla="*/ 151491 h 151490"/>
                  <a:gd name="connsiteX7" fmla="*/ 114214 w 130530"/>
                  <a:gd name="connsiteY7" fmla="*/ 151491 h 151490"/>
                  <a:gd name="connsiteX8" fmla="*/ 99711 w 130530"/>
                  <a:gd name="connsiteY8" fmla="*/ 115422 h 151490"/>
                  <a:gd name="connsiteX9" fmla="*/ 94272 w 130530"/>
                  <a:gd name="connsiteY9" fmla="*/ 102797 h 151490"/>
                  <a:gd name="connsiteX10" fmla="*/ 63453 w 130530"/>
                  <a:gd name="connsiteY10" fmla="*/ 19838 h 151490"/>
                  <a:gd name="connsiteX11" fmla="*/ 32632 w 130530"/>
                  <a:gd name="connsiteY11" fmla="*/ 102797 h 151490"/>
                  <a:gd name="connsiteX12" fmla="*/ 94272 w 130530"/>
                  <a:gd name="connsiteY12" fmla="*/ 102797 h 15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530" h="151490">
                    <a:moveTo>
                      <a:pt x="99711" y="115422"/>
                    </a:moveTo>
                    <a:lnTo>
                      <a:pt x="29007" y="115422"/>
                    </a:lnTo>
                    <a:lnTo>
                      <a:pt x="16316" y="151491"/>
                    </a:lnTo>
                    <a:lnTo>
                      <a:pt x="0" y="151491"/>
                    </a:lnTo>
                    <a:lnTo>
                      <a:pt x="56201" y="0"/>
                    </a:lnTo>
                    <a:lnTo>
                      <a:pt x="74330" y="0"/>
                    </a:lnTo>
                    <a:lnTo>
                      <a:pt x="130531" y="151491"/>
                    </a:lnTo>
                    <a:lnTo>
                      <a:pt x="114214" y="151491"/>
                    </a:lnTo>
                    <a:lnTo>
                      <a:pt x="99711" y="115422"/>
                    </a:lnTo>
                    <a:close/>
                    <a:moveTo>
                      <a:pt x="94272" y="102797"/>
                    </a:moveTo>
                    <a:lnTo>
                      <a:pt x="63453" y="19838"/>
                    </a:lnTo>
                    <a:lnTo>
                      <a:pt x="32632" y="102797"/>
                    </a:lnTo>
                    <a:lnTo>
                      <a:pt x="94272" y="102797"/>
                    </a:lnTo>
                    <a:close/>
                  </a:path>
                </a:pathLst>
              </a:custGeom>
              <a:solidFill>
                <a:srgbClr val="224F70"/>
              </a:solidFill>
              <a:ln w="18105" cap="flat">
                <a:noFill/>
                <a:prstDash val="solid"/>
                <a:miter/>
              </a:ln>
            </p:spPr>
            <p:txBody>
              <a:bodyPr rtlCol="0" anchor="ctr"/>
              <a:lstStyle/>
              <a:p>
                <a:endParaRPr lang="en-US"/>
              </a:p>
            </p:txBody>
          </p:sp>
          <p:sp>
            <p:nvSpPr>
              <p:cNvPr id="35" name="Forma libre 42">
                <a:extLst>
                  <a:ext uri="{FF2B5EF4-FFF2-40B4-BE49-F238E27FC236}">
                    <a16:creationId xmlns:a16="http://schemas.microsoft.com/office/drawing/2014/main" id="{3C1D61D6-980D-47F2-9FA9-7C8175DEE523}"/>
                  </a:ext>
                </a:extLst>
              </p:cNvPr>
              <p:cNvSpPr/>
              <p:nvPr/>
            </p:nvSpPr>
            <p:spPr>
              <a:xfrm>
                <a:off x="1752512" y="2743245"/>
                <a:ext cx="547504" cy="515790"/>
              </a:xfrm>
              <a:custGeom>
                <a:avLst/>
                <a:gdLst>
                  <a:gd name="connsiteX0" fmla="*/ 426038 w 547504"/>
                  <a:gd name="connsiteY0" fmla="*/ 515791 h 515790"/>
                  <a:gd name="connsiteX1" fmla="*/ 378902 w 547504"/>
                  <a:gd name="connsiteY1" fmla="*/ 400369 h 515790"/>
                  <a:gd name="connsiteX2" fmla="*/ 161351 w 547504"/>
                  <a:gd name="connsiteY2" fmla="*/ 400369 h 515790"/>
                  <a:gd name="connsiteX3" fmla="*/ 114215 w 547504"/>
                  <a:gd name="connsiteY3" fmla="*/ 515791 h 515790"/>
                  <a:gd name="connsiteX4" fmla="*/ 0 w 547504"/>
                  <a:gd name="connsiteY4" fmla="*/ 515791 h 515790"/>
                  <a:gd name="connsiteX5" fmla="*/ 221177 w 547504"/>
                  <a:gd name="connsiteY5" fmla="*/ 0 h 515790"/>
                  <a:gd name="connsiteX6" fmla="*/ 326327 w 547504"/>
                  <a:gd name="connsiteY6" fmla="*/ 0 h 515790"/>
                  <a:gd name="connsiteX7" fmla="*/ 547504 w 547504"/>
                  <a:gd name="connsiteY7" fmla="*/ 515791 h 515790"/>
                  <a:gd name="connsiteX8" fmla="*/ 426038 w 547504"/>
                  <a:gd name="connsiteY8" fmla="*/ 515791 h 515790"/>
                  <a:gd name="connsiteX9" fmla="*/ 270126 w 547504"/>
                  <a:gd name="connsiteY9" fmla="*/ 137063 h 515790"/>
                  <a:gd name="connsiteX10" fmla="*/ 201235 w 547504"/>
                  <a:gd name="connsiteY10" fmla="*/ 302982 h 515790"/>
                  <a:gd name="connsiteX11" fmla="*/ 337205 w 547504"/>
                  <a:gd name="connsiteY11" fmla="*/ 302982 h 515790"/>
                  <a:gd name="connsiteX12" fmla="*/ 270126 w 547504"/>
                  <a:gd name="connsiteY12" fmla="*/ 137063 h 51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7504" h="515790">
                    <a:moveTo>
                      <a:pt x="426038" y="515791"/>
                    </a:moveTo>
                    <a:lnTo>
                      <a:pt x="378902" y="400369"/>
                    </a:lnTo>
                    <a:lnTo>
                      <a:pt x="161351" y="400369"/>
                    </a:lnTo>
                    <a:lnTo>
                      <a:pt x="114215" y="515791"/>
                    </a:lnTo>
                    <a:lnTo>
                      <a:pt x="0" y="515791"/>
                    </a:lnTo>
                    <a:lnTo>
                      <a:pt x="221177" y="0"/>
                    </a:lnTo>
                    <a:lnTo>
                      <a:pt x="326327" y="0"/>
                    </a:lnTo>
                    <a:lnTo>
                      <a:pt x="547504" y="515791"/>
                    </a:lnTo>
                    <a:lnTo>
                      <a:pt x="426038" y="515791"/>
                    </a:lnTo>
                    <a:close/>
                    <a:moveTo>
                      <a:pt x="270126" y="137063"/>
                    </a:moveTo>
                    <a:lnTo>
                      <a:pt x="201235" y="302982"/>
                    </a:lnTo>
                    <a:lnTo>
                      <a:pt x="337205" y="302982"/>
                    </a:lnTo>
                    <a:lnTo>
                      <a:pt x="270126" y="137063"/>
                    </a:lnTo>
                    <a:close/>
                  </a:path>
                </a:pathLst>
              </a:custGeom>
              <a:solidFill>
                <a:srgbClr val="232E47"/>
              </a:solidFill>
              <a:ln w="18105" cap="flat">
                <a:noFill/>
                <a:prstDash val="solid"/>
                <a:miter/>
              </a:ln>
            </p:spPr>
            <p:txBody>
              <a:bodyPr rtlCol="0" anchor="ctr"/>
              <a:lstStyle/>
              <a:p>
                <a:endParaRPr lang="en-US"/>
              </a:p>
            </p:txBody>
          </p:sp>
          <p:sp>
            <p:nvSpPr>
              <p:cNvPr id="36" name="Forma libre 43">
                <a:extLst>
                  <a:ext uri="{FF2B5EF4-FFF2-40B4-BE49-F238E27FC236}">
                    <a16:creationId xmlns:a16="http://schemas.microsoft.com/office/drawing/2014/main" id="{3918A4E2-3DDE-40A8-9AE9-B9433B89F331}"/>
                  </a:ext>
                </a:extLst>
              </p:cNvPr>
              <p:cNvSpPr/>
              <p:nvPr/>
            </p:nvSpPr>
            <p:spPr>
              <a:xfrm>
                <a:off x="2414231" y="2748655"/>
                <a:ext cx="455045" cy="510380"/>
              </a:xfrm>
              <a:custGeom>
                <a:avLst/>
                <a:gdLst>
                  <a:gd name="connsiteX0" fmla="*/ 358960 w 455045"/>
                  <a:gd name="connsiteY0" fmla="*/ 510380 h 510380"/>
                  <a:gd name="connsiteX1" fmla="*/ 110589 w 455045"/>
                  <a:gd name="connsiteY1" fmla="*/ 185757 h 510380"/>
                  <a:gd name="connsiteX2" fmla="*/ 110589 w 455045"/>
                  <a:gd name="connsiteY2" fmla="*/ 510380 h 510380"/>
                  <a:gd name="connsiteX3" fmla="*/ 0 w 455045"/>
                  <a:gd name="connsiteY3" fmla="*/ 510380 h 510380"/>
                  <a:gd name="connsiteX4" fmla="*/ 0 w 455045"/>
                  <a:gd name="connsiteY4" fmla="*/ 0 h 510380"/>
                  <a:gd name="connsiteX5" fmla="*/ 103337 w 455045"/>
                  <a:gd name="connsiteY5" fmla="*/ 0 h 510380"/>
                  <a:gd name="connsiteX6" fmla="*/ 344456 w 455045"/>
                  <a:gd name="connsiteY6" fmla="*/ 313803 h 510380"/>
                  <a:gd name="connsiteX7" fmla="*/ 344456 w 455045"/>
                  <a:gd name="connsiteY7" fmla="*/ 0 h 510380"/>
                  <a:gd name="connsiteX8" fmla="*/ 455045 w 455045"/>
                  <a:gd name="connsiteY8" fmla="*/ 0 h 510380"/>
                  <a:gd name="connsiteX9" fmla="*/ 455045 w 455045"/>
                  <a:gd name="connsiteY9" fmla="*/ 510380 h 51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045" h="510380">
                    <a:moveTo>
                      <a:pt x="358960" y="510380"/>
                    </a:moveTo>
                    <a:lnTo>
                      <a:pt x="110589" y="185757"/>
                    </a:lnTo>
                    <a:lnTo>
                      <a:pt x="110589" y="510380"/>
                    </a:lnTo>
                    <a:lnTo>
                      <a:pt x="0" y="510380"/>
                    </a:lnTo>
                    <a:lnTo>
                      <a:pt x="0" y="0"/>
                    </a:lnTo>
                    <a:lnTo>
                      <a:pt x="103337" y="0"/>
                    </a:lnTo>
                    <a:lnTo>
                      <a:pt x="344456" y="313803"/>
                    </a:lnTo>
                    <a:lnTo>
                      <a:pt x="344456" y="0"/>
                    </a:lnTo>
                    <a:lnTo>
                      <a:pt x="455045" y="0"/>
                    </a:lnTo>
                    <a:lnTo>
                      <a:pt x="455045" y="510380"/>
                    </a:lnTo>
                    <a:close/>
                  </a:path>
                </a:pathLst>
              </a:custGeom>
              <a:solidFill>
                <a:srgbClr val="232E47"/>
              </a:solidFill>
              <a:ln w="18105" cap="flat">
                <a:noFill/>
                <a:prstDash val="solid"/>
                <a:miter/>
              </a:ln>
            </p:spPr>
            <p:txBody>
              <a:bodyPr rtlCol="0" anchor="ctr"/>
              <a:lstStyle/>
              <a:p>
                <a:endParaRPr lang="en-US"/>
              </a:p>
            </p:txBody>
          </p:sp>
          <p:sp>
            <p:nvSpPr>
              <p:cNvPr id="37" name="Forma libre 44">
                <a:extLst>
                  <a:ext uri="{FF2B5EF4-FFF2-40B4-BE49-F238E27FC236}">
                    <a16:creationId xmlns:a16="http://schemas.microsoft.com/office/drawing/2014/main" id="{ED476532-4146-4E85-BB2F-4229CABAE274}"/>
                  </a:ext>
                </a:extLst>
              </p:cNvPr>
              <p:cNvSpPr/>
              <p:nvPr/>
            </p:nvSpPr>
            <p:spPr>
              <a:xfrm>
                <a:off x="3030626" y="2748655"/>
                <a:ext cx="467735" cy="510380"/>
              </a:xfrm>
              <a:custGeom>
                <a:avLst/>
                <a:gdLst>
                  <a:gd name="connsiteX0" fmla="*/ 331766 w 467735"/>
                  <a:gd name="connsiteY0" fmla="*/ 510380 h 510380"/>
                  <a:gd name="connsiteX1" fmla="*/ 172228 w 467735"/>
                  <a:gd name="connsiteY1" fmla="*/ 293965 h 510380"/>
                  <a:gd name="connsiteX2" fmla="*/ 112402 w 467735"/>
                  <a:gd name="connsiteY2" fmla="*/ 355282 h 510380"/>
                  <a:gd name="connsiteX3" fmla="*/ 112402 w 467735"/>
                  <a:gd name="connsiteY3" fmla="*/ 510380 h 510380"/>
                  <a:gd name="connsiteX4" fmla="*/ 0 w 467735"/>
                  <a:gd name="connsiteY4" fmla="*/ 510380 h 510380"/>
                  <a:gd name="connsiteX5" fmla="*/ 0 w 467735"/>
                  <a:gd name="connsiteY5" fmla="*/ 0 h 510380"/>
                  <a:gd name="connsiteX6" fmla="*/ 112402 w 467735"/>
                  <a:gd name="connsiteY6" fmla="*/ 0 h 510380"/>
                  <a:gd name="connsiteX7" fmla="*/ 112402 w 467735"/>
                  <a:gd name="connsiteY7" fmla="*/ 223630 h 510380"/>
                  <a:gd name="connsiteX8" fmla="*/ 320888 w 467735"/>
                  <a:gd name="connsiteY8" fmla="*/ 0 h 510380"/>
                  <a:gd name="connsiteX9" fmla="*/ 458671 w 467735"/>
                  <a:gd name="connsiteY9" fmla="*/ 0 h 510380"/>
                  <a:gd name="connsiteX10" fmla="*/ 248371 w 467735"/>
                  <a:gd name="connsiteY10" fmla="*/ 216416 h 510380"/>
                  <a:gd name="connsiteX11" fmla="*/ 467736 w 467735"/>
                  <a:gd name="connsiteY11" fmla="*/ 510380 h 51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7735" h="510380">
                    <a:moveTo>
                      <a:pt x="331766" y="510380"/>
                    </a:moveTo>
                    <a:lnTo>
                      <a:pt x="172228" y="293965"/>
                    </a:lnTo>
                    <a:lnTo>
                      <a:pt x="112402" y="355282"/>
                    </a:lnTo>
                    <a:lnTo>
                      <a:pt x="112402" y="510380"/>
                    </a:lnTo>
                    <a:lnTo>
                      <a:pt x="0" y="510380"/>
                    </a:lnTo>
                    <a:lnTo>
                      <a:pt x="0" y="0"/>
                    </a:lnTo>
                    <a:lnTo>
                      <a:pt x="112402" y="0"/>
                    </a:lnTo>
                    <a:lnTo>
                      <a:pt x="112402" y="223630"/>
                    </a:lnTo>
                    <a:lnTo>
                      <a:pt x="320888" y="0"/>
                    </a:lnTo>
                    <a:lnTo>
                      <a:pt x="458671" y="0"/>
                    </a:lnTo>
                    <a:lnTo>
                      <a:pt x="248371" y="216416"/>
                    </a:lnTo>
                    <a:lnTo>
                      <a:pt x="467736" y="510380"/>
                    </a:lnTo>
                    <a:close/>
                  </a:path>
                </a:pathLst>
              </a:custGeom>
              <a:solidFill>
                <a:srgbClr val="232E47"/>
              </a:solidFill>
              <a:ln w="18105" cap="flat">
                <a:noFill/>
                <a:prstDash val="solid"/>
                <a:miter/>
              </a:ln>
            </p:spPr>
            <p:txBody>
              <a:bodyPr rtlCol="0" anchor="ctr"/>
              <a:lstStyle/>
              <a:p>
                <a:endParaRPr lang="en-US"/>
              </a:p>
            </p:txBody>
          </p:sp>
          <p:sp>
            <p:nvSpPr>
              <p:cNvPr id="38" name="Forma libre 45">
                <a:extLst>
                  <a:ext uri="{FF2B5EF4-FFF2-40B4-BE49-F238E27FC236}">
                    <a16:creationId xmlns:a16="http://schemas.microsoft.com/office/drawing/2014/main" id="{BE8B61AD-8D51-4A9B-B2B2-C55902705806}"/>
                  </a:ext>
                </a:extLst>
              </p:cNvPr>
              <p:cNvSpPr/>
              <p:nvPr/>
            </p:nvSpPr>
            <p:spPr>
              <a:xfrm>
                <a:off x="3603512" y="2748655"/>
                <a:ext cx="389779" cy="510380"/>
              </a:xfrm>
              <a:custGeom>
                <a:avLst/>
                <a:gdLst>
                  <a:gd name="connsiteX0" fmla="*/ 0 w 389779"/>
                  <a:gd name="connsiteY0" fmla="*/ 510380 h 510380"/>
                  <a:gd name="connsiteX1" fmla="*/ 0 w 389779"/>
                  <a:gd name="connsiteY1" fmla="*/ 0 h 510380"/>
                  <a:gd name="connsiteX2" fmla="*/ 386154 w 389779"/>
                  <a:gd name="connsiteY2" fmla="*/ 0 h 510380"/>
                  <a:gd name="connsiteX3" fmla="*/ 386154 w 389779"/>
                  <a:gd name="connsiteY3" fmla="*/ 99191 h 510380"/>
                  <a:gd name="connsiteX4" fmla="*/ 110588 w 389779"/>
                  <a:gd name="connsiteY4" fmla="*/ 99191 h 510380"/>
                  <a:gd name="connsiteX5" fmla="*/ 110588 w 389779"/>
                  <a:gd name="connsiteY5" fmla="*/ 203791 h 510380"/>
                  <a:gd name="connsiteX6" fmla="*/ 353521 w 389779"/>
                  <a:gd name="connsiteY6" fmla="*/ 203791 h 510380"/>
                  <a:gd name="connsiteX7" fmla="*/ 353521 w 389779"/>
                  <a:gd name="connsiteY7" fmla="*/ 302982 h 510380"/>
                  <a:gd name="connsiteX8" fmla="*/ 110588 w 389779"/>
                  <a:gd name="connsiteY8" fmla="*/ 302982 h 510380"/>
                  <a:gd name="connsiteX9" fmla="*/ 110588 w 389779"/>
                  <a:gd name="connsiteY9" fmla="*/ 411190 h 510380"/>
                  <a:gd name="connsiteX10" fmla="*/ 389780 w 389779"/>
                  <a:gd name="connsiteY10" fmla="*/ 411190 h 510380"/>
                  <a:gd name="connsiteX11" fmla="*/ 389780 w 389779"/>
                  <a:gd name="connsiteY11" fmla="*/ 510380 h 51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9779" h="510380">
                    <a:moveTo>
                      <a:pt x="0" y="510380"/>
                    </a:moveTo>
                    <a:lnTo>
                      <a:pt x="0" y="0"/>
                    </a:lnTo>
                    <a:lnTo>
                      <a:pt x="386154" y="0"/>
                    </a:lnTo>
                    <a:lnTo>
                      <a:pt x="386154" y="99191"/>
                    </a:lnTo>
                    <a:lnTo>
                      <a:pt x="110588" y="99191"/>
                    </a:lnTo>
                    <a:lnTo>
                      <a:pt x="110588" y="203791"/>
                    </a:lnTo>
                    <a:lnTo>
                      <a:pt x="353521" y="203791"/>
                    </a:lnTo>
                    <a:lnTo>
                      <a:pt x="353521" y="302982"/>
                    </a:lnTo>
                    <a:lnTo>
                      <a:pt x="110588" y="302982"/>
                    </a:lnTo>
                    <a:lnTo>
                      <a:pt x="110588" y="411190"/>
                    </a:lnTo>
                    <a:lnTo>
                      <a:pt x="389780" y="411190"/>
                    </a:lnTo>
                    <a:lnTo>
                      <a:pt x="389780" y="510380"/>
                    </a:lnTo>
                    <a:close/>
                  </a:path>
                </a:pathLst>
              </a:custGeom>
              <a:solidFill>
                <a:srgbClr val="232E47"/>
              </a:solidFill>
              <a:ln w="18105" cap="flat">
                <a:noFill/>
                <a:prstDash val="solid"/>
                <a:miter/>
              </a:ln>
            </p:spPr>
            <p:txBody>
              <a:bodyPr rtlCol="0" anchor="ctr"/>
              <a:lstStyle/>
              <a:p>
                <a:endParaRPr lang="en-US"/>
              </a:p>
            </p:txBody>
          </p:sp>
          <p:sp>
            <p:nvSpPr>
              <p:cNvPr id="39" name="Forma libre 46">
                <a:extLst>
                  <a:ext uri="{FF2B5EF4-FFF2-40B4-BE49-F238E27FC236}">
                    <a16:creationId xmlns:a16="http://schemas.microsoft.com/office/drawing/2014/main" id="{EDFF48EF-F324-4560-9304-376C24595BF5}"/>
                  </a:ext>
                </a:extLst>
              </p:cNvPr>
              <p:cNvSpPr/>
              <p:nvPr/>
            </p:nvSpPr>
            <p:spPr>
              <a:xfrm>
                <a:off x="4131074" y="2748655"/>
                <a:ext cx="444167" cy="512183"/>
              </a:xfrm>
              <a:custGeom>
                <a:avLst/>
                <a:gdLst>
                  <a:gd name="connsiteX0" fmla="*/ 311824 w 444167"/>
                  <a:gd name="connsiteY0" fmla="*/ 510380 h 512183"/>
                  <a:gd name="connsiteX1" fmla="*/ 201235 w 444167"/>
                  <a:gd name="connsiteY1" fmla="*/ 346265 h 512183"/>
                  <a:gd name="connsiteX2" fmla="*/ 112402 w 444167"/>
                  <a:gd name="connsiteY2" fmla="*/ 346265 h 512183"/>
                  <a:gd name="connsiteX3" fmla="*/ 112402 w 444167"/>
                  <a:gd name="connsiteY3" fmla="*/ 510380 h 512183"/>
                  <a:gd name="connsiteX4" fmla="*/ 0 w 444167"/>
                  <a:gd name="connsiteY4" fmla="*/ 510380 h 512183"/>
                  <a:gd name="connsiteX5" fmla="*/ 0 w 444167"/>
                  <a:gd name="connsiteY5" fmla="*/ 0 h 512183"/>
                  <a:gd name="connsiteX6" fmla="*/ 235681 w 444167"/>
                  <a:gd name="connsiteY6" fmla="*/ 0 h 512183"/>
                  <a:gd name="connsiteX7" fmla="*/ 378902 w 444167"/>
                  <a:gd name="connsiteY7" fmla="*/ 45087 h 512183"/>
                  <a:gd name="connsiteX8" fmla="*/ 429664 w 444167"/>
                  <a:gd name="connsiteY8" fmla="*/ 169526 h 512183"/>
                  <a:gd name="connsiteX9" fmla="*/ 429664 w 444167"/>
                  <a:gd name="connsiteY9" fmla="*/ 171329 h 512183"/>
                  <a:gd name="connsiteX10" fmla="*/ 398844 w 444167"/>
                  <a:gd name="connsiteY10" fmla="*/ 272323 h 512183"/>
                  <a:gd name="connsiteX11" fmla="*/ 319076 w 444167"/>
                  <a:gd name="connsiteY11" fmla="*/ 330034 h 512183"/>
                  <a:gd name="connsiteX12" fmla="*/ 444168 w 444167"/>
                  <a:gd name="connsiteY12" fmla="*/ 512184 h 512183"/>
                  <a:gd name="connsiteX13" fmla="*/ 311824 w 444167"/>
                  <a:gd name="connsiteY13" fmla="*/ 512184 h 512183"/>
                  <a:gd name="connsiteX14" fmla="*/ 315450 w 444167"/>
                  <a:gd name="connsiteY14" fmla="*/ 174936 h 512183"/>
                  <a:gd name="connsiteX15" fmla="*/ 291882 w 444167"/>
                  <a:gd name="connsiteY15" fmla="*/ 120832 h 512183"/>
                  <a:gd name="connsiteX16" fmla="*/ 226616 w 444167"/>
                  <a:gd name="connsiteY16" fmla="*/ 102797 h 512183"/>
                  <a:gd name="connsiteX17" fmla="*/ 114215 w 444167"/>
                  <a:gd name="connsiteY17" fmla="*/ 102797 h 512183"/>
                  <a:gd name="connsiteX18" fmla="*/ 114215 w 444167"/>
                  <a:gd name="connsiteY18" fmla="*/ 248878 h 512183"/>
                  <a:gd name="connsiteX19" fmla="*/ 228429 w 444167"/>
                  <a:gd name="connsiteY19" fmla="*/ 248878 h 512183"/>
                  <a:gd name="connsiteX20" fmla="*/ 291882 w 444167"/>
                  <a:gd name="connsiteY20" fmla="*/ 229040 h 512183"/>
                  <a:gd name="connsiteX21" fmla="*/ 315450 w 444167"/>
                  <a:gd name="connsiteY21" fmla="*/ 174936 h 512183"/>
                  <a:gd name="connsiteX22" fmla="*/ 315450 w 444167"/>
                  <a:gd name="connsiteY22" fmla="*/ 174936 h 51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4167" h="512183">
                    <a:moveTo>
                      <a:pt x="311824" y="510380"/>
                    </a:moveTo>
                    <a:lnTo>
                      <a:pt x="201235" y="346265"/>
                    </a:lnTo>
                    <a:lnTo>
                      <a:pt x="112402" y="346265"/>
                    </a:lnTo>
                    <a:lnTo>
                      <a:pt x="112402" y="510380"/>
                    </a:lnTo>
                    <a:lnTo>
                      <a:pt x="0" y="510380"/>
                    </a:lnTo>
                    <a:lnTo>
                      <a:pt x="0" y="0"/>
                    </a:lnTo>
                    <a:lnTo>
                      <a:pt x="235681" y="0"/>
                    </a:lnTo>
                    <a:cubicBezTo>
                      <a:pt x="297320" y="0"/>
                      <a:pt x="344456" y="14428"/>
                      <a:pt x="378902" y="45087"/>
                    </a:cubicBezTo>
                    <a:cubicBezTo>
                      <a:pt x="413348" y="73942"/>
                      <a:pt x="429664" y="115422"/>
                      <a:pt x="429664" y="169526"/>
                    </a:cubicBezTo>
                    <a:lnTo>
                      <a:pt x="429664" y="171329"/>
                    </a:lnTo>
                    <a:cubicBezTo>
                      <a:pt x="429664" y="212809"/>
                      <a:pt x="418787" y="247075"/>
                      <a:pt x="398844" y="272323"/>
                    </a:cubicBezTo>
                    <a:cubicBezTo>
                      <a:pt x="378902" y="297572"/>
                      <a:pt x="351708" y="317410"/>
                      <a:pt x="319076" y="330034"/>
                    </a:cubicBezTo>
                    <a:lnTo>
                      <a:pt x="444168" y="512184"/>
                    </a:lnTo>
                    <a:lnTo>
                      <a:pt x="311824" y="512184"/>
                    </a:lnTo>
                    <a:close/>
                    <a:moveTo>
                      <a:pt x="315450" y="174936"/>
                    </a:moveTo>
                    <a:cubicBezTo>
                      <a:pt x="315450" y="149688"/>
                      <a:pt x="308198" y="131653"/>
                      <a:pt x="291882" y="120832"/>
                    </a:cubicBezTo>
                    <a:cubicBezTo>
                      <a:pt x="275565" y="108208"/>
                      <a:pt x="253810" y="102797"/>
                      <a:pt x="226616" y="102797"/>
                    </a:cubicBezTo>
                    <a:lnTo>
                      <a:pt x="114215" y="102797"/>
                    </a:lnTo>
                    <a:lnTo>
                      <a:pt x="114215" y="248878"/>
                    </a:lnTo>
                    <a:lnTo>
                      <a:pt x="228429" y="248878"/>
                    </a:lnTo>
                    <a:cubicBezTo>
                      <a:pt x="255623" y="248878"/>
                      <a:pt x="277378" y="241664"/>
                      <a:pt x="291882" y="229040"/>
                    </a:cubicBezTo>
                    <a:cubicBezTo>
                      <a:pt x="308198" y="214612"/>
                      <a:pt x="315450" y="198381"/>
                      <a:pt x="315450" y="174936"/>
                    </a:cubicBezTo>
                    <a:lnTo>
                      <a:pt x="315450" y="174936"/>
                    </a:lnTo>
                    <a:close/>
                  </a:path>
                </a:pathLst>
              </a:custGeom>
              <a:solidFill>
                <a:srgbClr val="232E47"/>
              </a:solidFill>
              <a:ln w="18105" cap="flat">
                <a:noFill/>
                <a:prstDash val="solid"/>
                <a:miter/>
              </a:ln>
            </p:spPr>
            <p:txBody>
              <a:bodyPr rtlCol="0" anchor="ctr"/>
              <a:lstStyle/>
              <a:p>
                <a:endParaRPr lang="en-US"/>
              </a:p>
            </p:txBody>
          </p:sp>
        </p:grpSp>
      </p:grpSp>
      <p:cxnSp>
        <p:nvCxnSpPr>
          <p:cNvPr id="40" name="Conector recto 39">
            <a:extLst>
              <a:ext uri="{FF2B5EF4-FFF2-40B4-BE49-F238E27FC236}">
                <a16:creationId xmlns:a16="http://schemas.microsoft.com/office/drawing/2014/main" id="{837049E3-C2F0-4716-8E66-763284B2423D}"/>
              </a:ext>
            </a:extLst>
          </p:cNvPr>
          <p:cNvCxnSpPr/>
          <p:nvPr userDrawn="1"/>
        </p:nvCxnSpPr>
        <p:spPr>
          <a:xfrm>
            <a:off x="666826" y="2468880"/>
            <a:ext cx="620142"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1" name="Rectángulo 40">
            <a:extLst>
              <a:ext uri="{FF2B5EF4-FFF2-40B4-BE49-F238E27FC236}">
                <a16:creationId xmlns:a16="http://schemas.microsoft.com/office/drawing/2014/main" id="{A2BF34FF-DFBF-45C3-A429-475E14C4C7F7}"/>
              </a:ext>
            </a:extLst>
          </p:cNvPr>
          <p:cNvSpPr/>
          <p:nvPr userDrawn="1"/>
        </p:nvSpPr>
        <p:spPr>
          <a:xfrm rot="10800000">
            <a:off x="11832526" y="0"/>
            <a:ext cx="368244" cy="6858000"/>
          </a:xfrm>
          <a:prstGeom prst="rect">
            <a:avLst/>
          </a:prstGeom>
          <a:gradFill>
            <a:gsLst>
              <a:gs pos="100000">
                <a:schemeClr val="accent3"/>
              </a:gs>
              <a:gs pos="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 Placeholder 11">
            <a:extLst>
              <a:ext uri="{FF2B5EF4-FFF2-40B4-BE49-F238E27FC236}">
                <a16:creationId xmlns:a16="http://schemas.microsoft.com/office/drawing/2014/main" id="{F0B08674-7F7A-42CD-87F8-609F159739AE}"/>
              </a:ext>
            </a:extLst>
          </p:cNvPr>
          <p:cNvSpPr>
            <a:spLocks noGrp="1"/>
          </p:cNvSpPr>
          <p:nvPr>
            <p:ph type="body" sz="quarter" idx="12" hasCustomPrompt="1"/>
          </p:nvPr>
        </p:nvSpPr>
        <p:spPr>
          <a:xfrm>
            <a:off x="666826" y="2587942"/>
            <a:ext cx="4055521" cy="2122485"/>
          </a:xfrm>
          <a:noFill/>
        </p:spPr>
        <p:txBody>
          <a:bodyPr wrap="square" lIns="0" tIns="0" rIns="0" bIns="45720" rtlCol="0">
            <a:noAutofit/>
          </a:bodyPr>
          <a:lstStyle>
            <a:lvl1pPr marL="0" indent="0">
              <a:spcBef>
                <a:spcPts val="0"/>
              </a:spcBef>
              <a:spcAft>
                <a:spcPts val="0"/>
              </a:spcAft>
              <a:buNone/>
              <a:defRPr lang="en-US" sz="3200" b="1" i="0" spc="0" dirty="0">
                <a:solidFill>
                  <a:schemeClr val="bg1"/>
                </a:solidFill>
                <a:latin typeface="+mj-lt"/>
                <a:cs typeface="Poppins" pitchFamily="2" charset="77"/>
              </a:defRPr>
            </a:lvl1pPr>
          </a:lstStyle>
          <a:p>
            <a:pPr marL="0" lvl="0"/>
            <a:r>
              <a:rPr lang="en-US" dirty="0"/>
              <a:t>Name</a:t>
            </a:r>
          </a:p>
        </p:txBody>
      </p:sp>
    </p:spTree>
    <p:extLst>
      <p:ext uri="{BB962C8B-B14F-4D97-AF65-F5344CB8AC3E}">
        <p14:creationId xmlns:p14="http://schemas.microsoft.com/office/powerpoint/2010/main" val="39830310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aphicFrame>
        <p:nvGraphicFramePr>
          <p:cNvPr id="73" name="Objeto 72" hidden="1">
            <a:extLst>
              <a:ext uri="{FF2B5EF4-FFF2-40B4-BE49-F238E27FC236}">
                <a16:creationId xmlns:a16="http://schemas.microsoft.com/office/drawing/2014/main" id="{9D9CF1EB-BAD6-6144-99F1-8567A0D6F798}"/>
              </a:ext>
            </a:extLst>
          </p:cNvPr>
          <p:cNvGraphicFramePr>
            <a:graphicFrameLocks noChangeAspect="1"/>
          </p:cNvGraphicFramePr>
          <p:nvPr userDrawn="1">
            <p:custDataLst>
              <p:tags r:id="rId1"/>
            </p:custDataLst>
            <p:extLst>
              <p:ext uri="{D42A27DB-BD31-4B8C-83A1-F6EECF244321}">
                <p14:modId xmlns:p14="http://schemas.microsoft.com/office/powerpoint/2010/main" val="3820472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3" name="Objeto 72" hidden="1">
                        <a:extLst>
                          <a:ext uri="{FF2B5EF4-FFF2-40B4-BE49-F238E27FC236}">
                            <a16:creationId xmlns:a16="http://schemas.microsoft.com/office/drawing/2014/main" id="{9D9CF1EB-BAD6-6144-99F1-8567A0D6F7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2" name="Picture 2" descr="A person sitting on a sailboat&#10;&#10;Description automatically generated with medium confidence">
            <a:extLst>
              <a:ext uri="{FF2B5EF4-FFF2-40B4-BE49-F238E27FC236}">
                <a16:creationId xmlns:a16="http://schemas.microsoft.com/office/drawing/2014/main" id="{32CFCF81-D004-462B-B16F-A4F35B05A759}"/>
              </a:ext>
            </a:extLst>
          </p:cNvPr>
          <p:cNvPicPr>
            <a:picLocks noChangeAspect="1"/>
          </p:cNvPicPr>
          <p:nvPr userDrawn="1"/>
        </p:nvPicPr>
        <p:blipFill rotWithShape="1">
          <a:blip r:embed="rId5">
            <a:extLst>
              <a:ext uri="{28A0092B-C50C-407E-A947-70E740481C1C}">
                <a14:useLocalDpi xmlns:a14="http://schemas.microsoft.com/office/drawing/2010/main"/>
              </a:ext>
            </a:extLst>
          </a:blip>
          <a:srcRect t="7817" b="7817"/>
          <a:stretch/>
        </p:blipFill>
        <p:spPr>
          <a:xfrm>
            <a:off x="0" y="0"/>
            <a:ext cx="12193200" cy="6858000"/>
          </a:xfrm>
          <a:prstGeom prst="rect">
            <a:avLst/>
          </a:prstGeom>
        </p:spPr>
      </p:pic>
      <p:sp>
        <p:nvSpPr>
          <p:cNvPr id="13" name="Rectángulo 12">
            <a:extLst>
              <a:ext uri="{FF2B5EF4-FFF2-40B4-BE49-F238E27FC236}">
                <a16:creationId xmlns:a16="http://schemas.microsoft.com/office/drawing/2014/main" id="{C0B509AE-875D-428E-A546-A03D298AA55B}"/>
              </a:ext>
            </a:extLst>
          </p:cNvPr>
          <p:cNvSpPr/>
          <p:nvPr userDrawn="1"/>
        </p:nvSpPr>
        <p:spPr>
          <a:xfrm rot="10800000">
            <a:off x="-1201" y="0"/>
            <a:ext cx="12192000" cy="6858000"/>
          </a:xfrm>
          <a:prstGeom prst="rect">
            <a:avLst/>
          </a:prstGeom>
          <a:gradFill>
            <a:gsLst>
              <a:gs pos="34000">
                <a:srgbClr val="0E59B3">
                  <a:alpha val="14000"/>
                </a:srgbClr>
              </a:gs>
              <a:gs pos="74179">
                <a:srgbClr val="1C3C69">
                  <a:alpha val="88000"/>
                </a:srgbClr>
              </a:gs>
              <a:gs pos="93000">
                <a:schemeClr val="tx2"/>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ángulo 13">
            <a:extLst>
              <a:ext uri="{FF2B5EF4-FFF2-40B4-BE49-F238E27FC236}">
                <a16:creationId xmlns:a16="http://schemas.microsoft.com/office/drawing/2014/main" id="{A84447D2-8A25-45AD-B149-58168930839C}"/>
              </a:ext>
            </a:extLst>
          </p:cNvPr>
          <p:cNvSpPr/>
          <p:nvPr userDrawn="1"/>
        </p:nvSpPr>
        <p:spPr>
          <a:xfrm rot="16200000">
            <a:off x="5929845" y="633001"/>
            <a:ext cx="332309" cy="12192000"/>
          </a:xfrm>
          <a:prstGeom prst="rect">
            <a:avLst/>
          </a:prstGeom>
          <a:gradFill>
            <a:gsLst>
              <a:gs pos="100000">
                <a:schemeClr val="accent3"/>
              </a:gs>
              <a:gs pos="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Conector recto 17">
            <a:extLst>
              <a:ext uri="{FF2B5EF4-FFF2-40B4-BE49-F238E27FC236}">
                <a16:creationId xmlns:a16="http://schemas.microsoft.com/office/drawing/2014/main" id="{530B7190-4720-4601-A96C-44829DF02575}"/>
              </a:ext>
            </a:extLst>
          </p:cNvPr>
          <p:cNvCxnSpPr/>
          <p:nvPr userDrawn="1"/>
        </p:nvCxnSpPr>
        <p:spPr>
          <a:xfrm>
            <a:off x="468706" y="3039573"/>
            <a:ext cx="620142" cy="0"/>
          </a:xfrm>
          <a:prstGeom prst="line">
            <a:avLst/>
          </a:prstGeom>
          <a:ln>
            <a:solidFill>
              <a:srgbClr val="41E7DB"/>
            </a:solidFill>
          </a:ln>
        </p:spPr>
        <p:style>
          <a:lnRef idx="1">
            <a:schemeClr val="accent1"/>
          </a:lnRef>
          <a:fillRef idx="0">
            <a:schemeClr val="accent1"/>
          </a:fillRef>
          <a:effectRef idx="0">
            <a:schemeClr val="accent1"/>
          </a:effectRef>
          <a:fontRef idx="minor">
            <a:schemeClr val="tx1"/>
          </a:fontRef>
        </p:style>
      </p:cxnSp>
      <p:pic>
        <p:nvPicPr>
          <p:cNvPr id="19" name="Picture 7">
            <a:extLst>
              <a:ext uri="{FF2B5EF4-FFF2-40B4-BE49-F238E27FC236}">
                <a16:creationId xmlns:a16="http://schemas.microsoft.com/office/drawing/2014/main" id="{CD775D6D-C920-46E9-844D-7F265772C2A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0480" y="1458595"/>
            <a:ext cx="4132268" cy="1574885"/>
          </a:xfrm>
          <a:prstGeom prst="rect">
            <a:avLst/>
          </a:prstGeom>
        </p:spPr>
      </p:pic>
      <p:sp>
        <p:nvSpPr>
          <p:cNvPr id="20" name="Text Placeholder 11">
            <a:extLst>
              <a:ext uri="{FF2B5EF4-FFF2-40B4-BE49-F238E27FC236}">
                <a16:creationId xmlns:a16="http://schemas.microsoft.com/office/drawing/2014/main" id="{43BFBF54-B5AA-44F8-A744-B1F5AA0B50FA}"/>
              </a:ext>
            </a:extLst>
          </p:cNvPr>
          <p:cNvSpPr>
            <a:spLocks noGrp="1"/>
          </p:cNvSpPr>
          <p:nvPr>
            <p:ph type="body" sz="quarter" idx="12" hasCustomPrompt="1"/>
          </p:nvPr>
        </p:nvSpPr>
        <p:spPr>
          <a:xfrm>
            <a:off x="468706" y="3276920"/>
            <a:ext cx="4941494" cy="2122485"/>
          </a:xfrm>
          <a:noFill/>
        </p:spPr>
        <p:txBody>
          <a:bodyPr wrap="square" lIns="0" tIns="0" rIns="0" bIns="45720" rtlCol="0">
            <a:noAutofit/>
          </a:bodyPr>
          <a:lstStyle>
            <a:lvl1pPr marL="0" indent="0">
              <a:spcBef>
                <a:spcPts val="0"/>
              </a:spcBef>
              <a:spcAft>
                <a:spcPts val="0"/>
              </a:spcAft>
              <a:buNone/>
              <a:defRPr lang="en-US" sz="3200" b="1" i="0" spc="0" dirty="0">
                <a:solidFill>
                  <a:schemeClr val="bg1"/>
                </a:solidFill>
                <a:latin typeface="+mj-lt"/>
                <a:cs typeface="Poppins" pitchFamily="2" charset="77"/>
              </a:defRPr>
            </a:lvl1pPr>
          </a:lstStyle>
          <a:p>
            <a:pPr marL="0" lvl="0"/>
            <a:r>
              <a:rPr lang="en-US" dirty="0"/>
              <a:t>Name</a:t>
            </a:r>
          </a:p>
        </p:txBody>
      </p:sp>
    </p:spTree>
    <p:extLst>
      <p:ext uri="{BB962C8B-B14F-4D97-AF65-F5344CB8AC3E}">
        <p14:creationId xmlns:p14="http://schemas.microsoft.com/office/powerpoint/2010/main" val="8617543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5" name="Imagen 4" descr="Imagen en blanco y negro de un grupo de personas caminando&#10;&#10;Descripción generada automáticamente con confianza media">
            <a:extLst>
              <a:ext uri="{FF2B5EF4-FFF2-40B4-BE49-F238E27FC236}">
                <a16:creationId xmlns:a16="http://schemas.microsoft.com/office/drawing/2014/main" id="{77FCC6D6-E78D-495F-A283-EB1CD70E7BC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236" r="2278" b="21219"/>
          <a:stretch/>
        </p:blipFill>
        <p:spPr>
          <a:xfrm>
            <a:off x="0" y="0"/>
            <a:ext cx="12207080" cy="6858000"/>
          </a:xfrm>
          <a:prstGeom prst="rect">
            <a:avLst/>
          </a:prstGeom>
        </p:spPr>
      </p:pic>
      <p:graphicFrame>
        <p:nvGraphicFramePr>
          <p:cNvPr id="73" name="Objeto 72" hidden="1">
            <a:extLst>
              <a:ext uri="{FF2B5EF4-FFF2-40B4-BE49-F238E27FC236}">
                <a16:creationId xmlns:a16="http://schemas.microsoft.com/office/drawing/2014/main" id="{9D9CF1EB-BAD6-6144-99F1-8567A0D6F798}"/>
              </a:ext>
            </a:extLst>
          </p:cNvPr>
          <p:cNvGraphicFramePr>
            <a:graphicFrameLocks noChangeAspect="1"/>
          </p:cNvGraphicFramePr>
          <p:nvPr userDrawn="1">
            <p:custDataLst>
              <p:tags r:id="rId1"/>
            </p:custDataLst>
            <p:extLst>
              <p:ext uri="{D42A27DB-BD31-4B8C-83A1-F6EECF244321}">
                <p14:modId xmlns:p14="http://schemas.microsoft.com/office/powerpoint/2010/main" val="3820472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3" name="Objeto 72" hidden="1">
                        <a:extLst>
                          <a:ext uri="{FF2B5EF4-FFF2-40B4-BE49-F238E27FC236}">
                            <a16:creationId xmlns:a16="http://schemas.microsoft.com/office/drawing/2014/main" id="{9D9CF1EB-BAD6-6144-99F1-8567A0D6F79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Rectángulo 9">
            <a:extLst>
              <a:ext uri="{FF2B5EF4-FFF2-40B4-BE49-F238E27FC236}">
                <a16:creationId xmlns:a16="http://schemas.microsoft.com/office/drawing/2014/main" id="{71F10C31-A769-46EE-9203-C6F0A39D7A08}"/>
              </a:ext>
            </a:extLst>
          </p:cNvPr>
          <p:cNvSpPr/>
          <p:nvPr userDrawn="1"/>
        </p:nvSpPr>
        <p:spPr>
          <a:xfrm rot="16200000">
            <a:off x="2667002" y="-2682080"/>
            <a:ext cx="6858000" cy="12222160"/>
          </a:xfrm>
          <a:prstGeom prst="rect">
            <a:avLst/>
          </a:prstGeom>
          <a:gradFill>
            <a:gsLst>
              <a:gs pos="57838">
                <a:srgbClr val="183D7D">
                  <a:alpha val="50000"/>
                </a:srgbClr>
              </a:gs>
              <a:gs pos="12000">
                <a:srgbClr val="0C4FBB">
                  <a:alpha val="40000"/>
                </a:srgbClr>
              </a:gs>
              <a:gs pos="0">
                <a:schemeClr val="accent3"/>
              </a:gs>
              <a:gs pos="98000">
                <a:schemeClr val="tx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ángulo 10">
            <a:extLst>
              <a:ext uri="{FF2B5EF4-FFF2-40B4-BE49-F238E27FC236}">
                <a16:creationId xmlns:a16="http://schemas.microsoft.com/office/drawing/2014/main" id="{1E17900B-2175-44CA-A0AE-ED300E60FF63}"/>
              </a:ext>
            </a:extLst>
          </p:cNvPr>
          <p:cNvSpPr/>
          <p:nvPr userDrawn="1"/>
        </p:nvSpPr>
        <p:spPr>
          <a:xfrm rot="16200000">
            <a:off x="1518224" y="984553"/>
            <a:ext cx="2458350" cy="5110622"/>
          </a:xfrm>
          <a:prstGeom prst="rect">
            <a:avLst/>
          </a:prstGeom>
          <a:gradFill>
            <a:gsLst>
              <a:gs pos="100000">
                <a:schemeClr val="accent3"/>
              </a:gs>
              <a:gs pos="0">
                <a:schemeClr val="tx2"/>
              </a:gs>
            </a:gsLst>
            <a:lin ang="5400000" scaled="1"/>
          </a:gradFill>
          <a:ln>
            <a:noFill/>
          </a:ln>
          <a:effectLst>
            <a:outerShdw blurRad="1905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B425D80-C641-4F42-9495-0704A1929C7E}"/>
              </a:ext>
            </a:extLst>
          </p:cNvPr>
          <p:cNvSpPr txBox="1"/>
          <p:nvPr userDrawn="1"/>
        </p:nvSpPr>
        <p:spPr>
          <a:xfrm>
            <a:off x="192087" y="6431190"/>
            <a:ext cx="1999265" cy="215444"/>
          </a:xfrm>
          <a:prstGeom prst="rect">
            <a:avLst/>
          </a:prstGeom>
        </p:spPr>
        <p:txBody>
          <a:bodyPr vert="horz" lIns="0" tIns="0" rIns="0" bIns="0" rtlCol="0" anchor="ctr">
            <a:noAutofit/>
          </a:bodyPr>
          <a:lstStyle>
            <a:defPPr>
              <a:defRPr lang="en-US"/>
            </a:defPPr>
            <a:lvl1pPr>
              <a:defRPr sz="800">
                <a:solidFill>
                  <a:schemeClr val="tx1">
                    <a:tint val="75000"/>
                  </a:schemeClr>
                </a:solidFill>
                <a:ea typeface="Open Sans" panose="020B0606030504020204" pitchFamily="34" charset="0"/>
                <a:cs typeface="Open Sans" panose="020B0606030504020204" pitchFamily="34" charset="0"/>
              </a:defRPr>
            </a:lvl1pPr>
          </a:lstStyle>
          <a:p>
            <a:pPr lvl="0"/>
            <a:r>
              <a:rPr lang="en-AR" dirty="0">
                <a:solidFill>
                  <a:schemeClr val="bg1"/>
                </a:solidFill>
              </a:rPr>
              <a:t>@ ANKER ALL RIGHTS RESERVED 2022</a:t>
            </a:r>
          </a:p>
        </p:txBody>
      </p:sp>
    </p:spTree>
    <p:extLst>
      <p:ext uri="{BB962C8B-B14F-4D97-AF65-F5344CB8AC3E}">
        <p14:creationId xmlns:p14="http://schemas.microsoft.com/office/powerpoint/2010/main" val="3401074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9_Custom Layout">
    <p:bg>
      <p:bgPr>
        <a:gradFill flip="none" rotWithShape="1">
          <a:gsLst>
            <a:gs pos="46000">
              <a:schemeClr val="accent1"/>
            </a:gs>
            <a:gs pos="0">
              <a:schemeClr val="accent3"/>
            </a:gs>
            <a:gs pos="98000">
              <a:schemeClr val="tx2"/>
            </a:gs>
          </a:gsLst>
          <a:path path="circle">
            <a:fillToRect l="100000" t="100000"/>
          </a:path>
          <a:tileRect r="-100000" b="-100000"/>
        </a:gradFill>
        <a:effectLst/>
      </p:bgPr>
    </p:bg>
    <p:spTree>
      <p:nvGrpSpPr>
        <p:cNvPr id="1" name=""/>
        <p:cNvGrpSpPr/>
        <p:nvPr/>
      </p:nvGrpSpPr>
      <p:grpSpPr>
        <a:xfrm>
          <a:off x="0" y="0"/>
          <a:ext cx="0" cy="0"/>
          <a:chOff x="0" y="0"/>
          <a:chExt cx="0" cy="0"/>
        </a:xfrm>
      </p:grpSpPr>
      <p:graphicFrame>
        <p:nvGraphicFramePr>
          <p:cNvPr id="73" name="Objeto 72" hidden="1">
            <a:extLst>
              <a:ext uri="{FF2B5EF4-FFF2-40B4-BE49-F238E27FC236}">
                <a16:creationId xmlns:a16="http://schemas.microsoft.com/office/drawing/2014/main" id="{9D9CF1EB-BAD6-6144-99F1-8567A0D6F798}"/>
              </a:ext>
            </a:extLst>
          </p:cNvPr>
          <p:cNvGraphicFramePr>
            <a:graphicFrameLocks noChangeAspect="1"/>
          </p:cNvGraphicFramePr>
          <p:nvPr userDrawn="1">
            <p:custDataLst>
              <p:tags r:id="rId1"/>
            </p:custDataLst>
            <p:extLst>
              <p:ext uri="{D42A27DB-BD31-4B8C-83A1-F6EECF244321}">
                <p14:modId xmlns:p14="http://schemas.microsoft.com/office/powerpoint/2010/main" val="3820472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3" name="Objeto 72" hidden="1">
                        <a:extLst>
                          <a:ext uri="{FF2B5EF4-FFF2-40B4-BE49-F238E27FC236}">
                            <a16:creationId xmlns:a16="http://schemas.microsoft.com/office/drawing/2014/main" id="{9D9CF1EB-BAD6-6144-99F1-8567A0D6F79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Rectángulo 10">
            <a:extLst>
              <a:ext uri="{FF2B5EF4-FFF2-40B4-BE49-F238E27FC236}">
                <a16:creationId xmlns:a16="http://schemas.microsoft.com/office/drawing/2014/main" id="{1E17900B-2175-44CA-A0AE-ED300E60FF63}"/>
              </a:ext>
            </a:extLst>
          </p:cNvPr>
          <p:cNvSpPr/>
          <p:nvPr userDrawn="1"/>
        </p:nvSpPr>
        <p:spPr>
          <a:xfrm rot="16200000">
            <a:off x="1518224" y="984553"/>
            <a:ext cx="2458350" cy="5110622"/>
          </a:xfrm>
          <a:prstGeom prst="rect">
            <a:avLst/>
          </a:prstGeom>
          <a:gradFill>
            <a:gsLst>
              <a:gs pos="100000">
                <a:schemeClr val="accent3"/>
              </a:gs>
              <a:gs pos="0">
                <a:schemeClr val="tx2"/>
              </a:gs>
            </a:gsLst>
            <a:lin ang="5400000" scaled="1"/>
          </a:gradFill>
          <a:ln>
            <a:noFill/>
          </a:ln>
          <a:effectLst>
            <a:outerShdw blurRad="1905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3717266D-680A-4042-860F-36E7E9A5F059}"/>
              </a:ext>
            </a:extLst>
          </p:cNvPr>
          <p:cNvSpPr txBox="1"/>
          <p:nvPr userDrawn="1"/>
        </p:nvSpPr>
        <p:spPr>
          <a:xfrm>
            <a:off x="192087" y="6431190"/>
            <a:ext cx="1999265" cy="215444"/>
          </a:xfrm>
          <a:prstGeom prst="rect">
            <a:avLst/>
          </a:prstGeom>
        </p:spPr>
        <p:txBody>
          <a:bodyPr vert="horz" lIns="0" tIns="0" rIns="0" bIns="0" rtlCol="0" anchor="ctr">
            <a:noAutofit/>
          </a:bodyPr>
          <a:lstStyle>
            <a:defPPr>
              <a:defRPr lang="en-US"/>
            </a:defPPr>
            <a:lvl1pPr>
              <a:defRPr sz="800">
                <a:solidFill>
                  <a:schemeClr val="tx1">
                    <a:tint val="75000"/>
                  </a:schemeClr>
                </a:solidFill>
                <a:ea typeface="Open Sans" panose="020B0606030504020204" pitchFamily="34" charset="0"/>
                <a:cs typeface="Open Sans" panose="020B0606030504020204" pitchFamily="34" charset="0"/>
              </a:defRPr>
            </a:lvl1pPr>
          </a:lstStyle>
          <a:p>
            <a:pPr lvl="0"/>
            <a:r>
              <a:rPr lang="en-AR" dirty="0">
                <a:solidFill>
                  <a:schemeClr val="bg1"/>
                </a:solidFill>
              </a:rPr>
              <a:t>@ ANKER ALL RIGHTS RESERVED 2022</a:t>
            </a:r>
          </a:p>
        </p:txBody>
      </p:sp>
    </p:spTree>
    <p:extLst>
      <p:ext uri="{BB962C8B-B14F-4D97-AF65-F5344CB8AC3E}">
        <p14:creationId xmlns:p14="http://schemas.microsoft.com/office/powerpoint/2010/main" val="11601339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pic>
        <p:nvPicPr>
          <p:cNvPr id="3" name="Imagen 2" descr="Un grupo de personas caminando en una pista&#10;&#10;Descripción generada automáticamente">
            <a:extLst>
              <a:ext uri="{FF2B5EF4-FFF2-40B4-BE49-F238E27FC236}">
                <a16:creationId xmlns:a16="http://schemas.microsoft.com/office/drawing/2014/main" id="{454F039D-B797-4F28-9D52-825A80DC618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169" r="-491" b="33681"/>
          <a:stretch/>
        </p:blipFill>
        <p:spPr>
          <a:xfrm>
            <a:off x="6096000" y="-15613"/>
            <a:ext cx="6111078" cy="6873613"/>
          </a:xfrm>
          <a:prstGeom prst="rect">
            <a:avLst/>
          </a:prstGeom>
        </p:spPr>
      </p:pic>
      <p:sp>
        <p:nvSpPr>
          <p:cNvPr id="7" name="Rectángulo 6">
            <a:extLst>
              <a:ext uri="{FF2B5EF4-FFF2-40B4-BE49-F238E27FC236}">
                <a16:creationId xmlns:a16="http://schemas.microsoft.com/office/drawing/2014/main" id="{C152CEB1-5713-46CE-94E2-256E588A7D54}"/>
              </a:ext>
            </a:extLst>
          </p:cNvPr>
          <p:cNvSpPr/>
          <p:nvPr userDrawn="1"/>
        </p:nvSpPr>
        <p:spPr>
          <a:xfrm rot="16200000">
            <a:off x="-255520" y="224828"/>
            <a:ext cx="6873613" cy="6392730"/>
          </a:xfrm>
          <a:prstGeom prst="rect">
            <a:avLst/>
          </a:prstGeom>
          <a:gradFill>
            <a:gsLst>
              <a:gs pos="100000">
                <a:schemeClr val="accent1"/>
              </a:gs>
              <a:gs pos="0">
                <a:schemeClr val="accent3"/>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rma libre: forma 7">
            <a:extLst>
              <a:ext uri="{FF2B5EF4-FFF2-40B4-BE49-F238E27FC236}">
                <a16:creationId xmlns:a16="http://schemas.microsoft.com/office/drawing/2014/main" id="{DEC9CA06-F5FF-414D-82D7-CDD96A135C07}"/>
              </a:ext>
            </a:extLst>
          </p:cNvPr>
          <p:cNvSpPr/>
          <p:nvPr userDrawn="1"/>
        </p:nvSpPr>
        <p:spPr>
          <a:xfrm>
            <a:off x="192088" y="983100"/>
            <a:ext cx="1513786" cy="1110100"/>
          </a:xfrm>
          <a:custGeom>
            <a:avLst/>
            <a:gdLst>
              <a:gd name="connsiteX0" fmla="*/ 6743962 w 6857971"/>
              <a:gd name="connsiteY0" fmla="*/ 2057371 h 5029137"/>
              <a:gd name="connsiteX1" fmla="*/ 6857972 w 6857971"/>
              <a:gd name="connsiteY1" fmla="*/ 2172027 h 5029137"/>
              <a:gd name="connsiteX2" fmla="*/ 6857972 w 6857971"/>
              <a:gd name="connsiteY2" fmla="*/ 4914443 h 5029137"/>
              <a:gd name="connsiteX3" fmla="*/ 6743394 w 6857971"/>
              <a:gd name="connsiteY3" fmla="*/ 5029138 h 5029137"/>
              <a:gd name="connsiteX4" fmla="*/ 4003721 w 6857971"/>
              <a:gd name="connsiteY4" fmla="*/ 5029138 h 5029137"/>
              <a:gd name="connsiteX5" fmla="*/ 3889065 w 6857971"/>
              <a:gd name="connsiteY5" fmla="*/ 4914443 h 5029137"/>
              <a:gd name="connsiteX6" fmla="*/ 3886234 w 6857971"/>
              <a:gd name="connsiteY6" fmla="*/ 2057400 h 5029137"/>
              <a:gd name="connsiteX7" fmla="*/ 6057868 w 6857971"/>
              <a:gd name="connsiteY7" fmla="*/ 0 h 5029137"/>
              <a:gd name="connsiteX8" fmla="*/ 6058211 w 6857971"/>
              <a:gd name="connsiteY8" fmla="*/ 0 h 5029137"/>
              <a:gd name="connsiteX9" fmla="*/ 6172181 w 6857971"/>
              <a:gd name="connsiteY9" fmla="*/ 113774 h 5029137"/>
              <a:gd name="connsiteX10" fmla="*/ 6172181 w 6857971"/>
              <a:gd name="connsiteY10" fmla="*/ 1029200 h 5029137"/>
              <a:gd name="connsiteX11" fmla="*/ 6058211 w 6857971"/>
              <a:gd name="connsiteY11" fmla="*/ 1142974 h 5029137"/>
              <a:gd name="connsiteX12" fmla="*/ 6057868 w 6857971"/>
              <a:gd name="connsiteY12" fmla="*/ 1142974 h 5029137"/>
              <a:gd name="connsiteX13" fmla="*/ 5035438 w 6857971"/>
              <a:gd name="connsiteY13" fmla="*/ 2057400 h 5029137"/>
              <a:gd name="connsiteX14" fmla="*/ 2857729 w 6857971"/>
              <a:gd name="connsiteY14" fmla="*/ 2057371 h 5029137"/>
              <a:gd name="connsiteX15" fmla="*/ 2971739 w 6857971"/>
              <a:gd name="connsiteY15" fmla="*/ 2172027 h 5029137"/>
              <a:gd name="connsiteX16" fmla="*/ 2971739 w 6857971"/>
              <a:gd name="connsiteY16" fmla="*/ 4914443 h 5029137"/>
              <a:gd name="connsiteX17" fmla="*/ 2857200 w 6857971"/>
              <a:gd name="connsiteY17" fmla="*/ 5029138 h 5029137"/>
              <a:gd name="connsiteX18" fmla="*/ 117527 w 6857971"/>
              <a:gd name="connsiteY18" fmla="*/ 5029138 h 5029137"/>
              <a:gd name="connsiteX19" fmla="*/ 2832 w 6857971"/>
              <a:gd name="connsiteY19" fmla="*/ 4914443 h 5029137"/>
              <a:gd name="connsiteX20" fmla="*/ 0 w 6857971"/>
              <a:gd name="connsiteY20" fmla="*/ 2057400 h 5029137"/>
              <a:gd name="connsiteX21" fmla="*/ 2171733 w 6857971"/>
              <a:gd name="connsiteY21" fmla="*/ 0 h 5029137"/>
              <a:gd name="connsiteX22" fmla="*/ 2172037 w 6857971"/>
              <a:gd name="connsiteY22" fmla="*/ 0 h 5029137"/>
              <a:gd name="connsiteX23" fmla="*/ 2286007 w 6857971"/>
              <a:gd name="connsiteY23" fmla="*/ 113774 h 5029137"/>
              <a:gd name="connsiteX24" fmla="*/ 2286007 w 6857971"/>
              <a:gd name="connsiteY24" fmla="*/ 1029200 h 5029137"/>
              <a:gd name="connsiteX25" fmla="*/ 2172037 w 6857971"/>
              <a:gd name="connsiteY25" fmla="*/ 1142974 h 5029137"/>
              <a:gd name="connsiteX26" fmla="*/ 2171733 w 6857971"/>
              <a:gd name="connsiteY26" fmla="*/ 1142974 h 5029137"/>
              <a:gd name="connsiteX27" fmla="*/ 1149303 w 6857971"/>
              <a:gd name="connsiteY27" fmla="*/ 2057400 h 502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57971" h="5029137">
                <a:moveTo>
                  <a:pt x="6743962" y="2057371"/>
                </a:moveTo>
                <a:cubicBezTo>
                  <a:pt x="6806919" y="2057371"/>
                  <a:pt x="6857972" y="2108923"/>
                  <a:pt x="6857972" y="2172027"/>
                </a:cubicBezTo>
                <a:lnTo>
                  <a:pt x="6857972" y="4914443"/>
                </a:lnTo>
                <a:cubicBezTo>
                  <a:pt x="6857972" y="4977782"/>
                  <a:pt x="6806458" y="5029138"/>
                  <a:pt x="6743394" y="5029138"/>
                </a:cubicBezTo>
                <a:lnTo>
                  <a:pt x="4003721" y="5029138"/>
                </a:lnTo>
                <a:cubicBezTo>
                  <a:pt x="3940460" y="5029138"/>
                  <a:pt x="3889143" y="4977547"/>
                  <a:pt x="3889065" y="4914443"/>
                </a:cubicBezTo>
                <a:lnTo>
                  <a:pt x="3886234" y="2057400"/>
                </a:lnTo>
                <a:cubicBezTo>
                  <a:pt x="3948612" y="911134"/>
                  <a:pt x="4896907" y="0"/>
                  <a:pt x="6057868" y="0"/>
                </a:cubicBezTo>
                <a:lnTo>
                  <a:pt x="6058211" y="0"/>
                </a:lnTo>
                <a:cubicBezTo>
                  <a:pt x="6121168" y="0"/>
                  <a:pt x="6172181" y="52086"/>
                  <a:pt x="6172181" y="113774"/>
                </a:cubicBezTo>
                <a:lnTo>
                  <a:pt x="6172181" y="1029200"/>
                </a:lnTo>
                <a:cubicBezTo>
                  <a:pt x="6172181" y="1092039"/>
                  <a:pt x="6120364" y="1142974"/>
                  <a:pt x="6058211" y="1142974"/>
                </a:cubicBezTo>
                <a:lnTo>
                  <a:pt x="6057868" y="1142974"/>
                </a:lnTo>
                <a:cubicBezTo>
                  <a:pt x="5528362" y="1142974"/>
                  <a:pt x="5092311" y="1543050"/>
                  <a:pt x="5035438" y="2057400"/>
                </a:cubicBezTo>
                <a:close/>
                <a:moveTo>
                  <a:pt x="2857729" y="2057371"/>
                </a:moveTo>
                <a:cubicBezTo>
                  <a:pt x="2920725" y="2057371"/>
                  <a:pt x="2971739" y="2108923"/>
                  <a:pt x="2971739" y="2172027"/>
                </a:cubicBezTo>
                <a:lnTo>
                  <a:pt x="2971739" y="4914443"/>
                </a:lnTo>
                <a:cubicBezTo>
                  <a:pt x="2971739" y="4977782"/>
                  <a:pt x="2920225" y="5029138"/>
                  <a:pt x="2857200" y="5029138"/>
                </a:cubicBezTo>
                <a:lnTo>
                  <a:pt x="117527" y="5029138"/>
                </a:lnTo>
                <a:cubicBezTo>
                  <a:pt x="54229" y="5029138"/>
                  <a:pt x="2910" y="4977547"/>
                  <a:pt x="2832" y="4914443"/>
                </a:cubicBezTo>
                <a:lnTo>
                  <a:pt x="0" y="2057400"/>
                </a:lnTo>
                <a:cubicBezTo>
                  <a:pt x="62380" y="911134"/>
                  <a:pt x="1010674" y="0"/>
                  <a:pt x="2171733" y="0"/>
                </a:cubicBezTo>
                <a:lnTo>
                  <a:pt x="2172037" y="0"/>
                </a:lnTo>
                <a:cubicBezTo>
                  <a:pt x="2234994" y="0"/>
                  <a:pt x="2286007" y="52086"/>
                  <a:pt x="2286007" y="113774"/>
                </a:cubicBezTo>
                <a:lnTo>
                  <a:pt x="2286007" y="1029200"/>
                </a:lnTo>
                <a:cubicBezTo>
                  <a:pt x="2286007" y="1092039"/>
                  <a:pt x="2234229" y="1142974"/>
                  <a:pt x="2172037" y="1142974"/>
                </a:cubicBezTo>
                <a:lnTo>
                  <a:pt x="2171733" y="1142974"/>
                </a:lnTo>
                <a:cubicBezTo>
                  <a:pt x="1642227" y="1142974"/>
                  <a:pt x="1206137" y="1543050"/>
                  <a:pt x="1149303" y="2057400"/>
                </a:cubicBezTo>
                <a:close/>
              </a:path>
            </a:pathLst>
          </a:custGeom>
          <a:gradFill>
            <a:gsLst>
              <a:gs pos="0">
                <a:schemeClr val="accent3">
                  <a:lumMod val="75000"/>
                </a:schemeClr>
              </a:gs>
              <a:gs pos="98000">
                <a:schemeClr val="tx2">
                  <a:lumMod val="50000"/>
                </a:schemeClr>
              </a:gs>
            </a:gsLst>
            <a:lin ang="7800000" scaled="0"/>
          </a:gradFill>
          <a:ln w="9797" cap="flat">
            <a:noFill/>
            <a:prstDash val="solid"/>
            <a:miter/>
          </a:ln>
        </p:spPr>
        <p:txBody>
          <a:bodyPr rtlCol="0" anchor="ctr"/>
          <a:lstStyle/>
          <a:p>
            <a:endParaRPr lang="en-US" dirty="0"/>
          </a:p>
        </p:txBody>
      </p:sp>
      <p:sp>
        <p:nvSpPr>
          <p:cNvPr id="4" name="Marcador de número de diapositiva 3">
            <a:extLst>
              <a:ext uri="{FF2B5EF4-FFF2-40B4-BE49-F238E27FC236}">
                <a16:creationId xmlns:a16="http://schemas.microsoft.com/office/drawing/2014/main" id="{0619826E-187A-431F-BAE8-0E95C79649F3}"/>
              </a:ext>
            </a:extLst>
          </p:cNvPr>
          <p:cNvSpPr>
            <a:spLocks noGrp="1"/>
          </p:cNvSpPr>
          <p:nvPr>
            <p:ph type="sldNum" sz="quarter" idx="11"/>
          </p:nvPr>
        </p:nvSpPr>
        <p:spPr/>
        <p:txBody>
          <a:bodyPr/>
          <a:lstStyle/>
          <a:p>
            <a:fld id="{9F427BA5-3988-40EC-8E11-9F7B5510E66B}" type="slidenum">
              <a:rPr lang="en-GB" smtClean="0"/>
              <a:pPr/>
              <a:t>‹#›</a:t>
            </a:fld>
            <a:endParaRPr lang="en-GB" dirty="0"/>
          </a:p>
        </p:txBody>
      </p:sp>
      <p:sp>
        <p:nvSpPr>
          <p:cNvPr id="5" name="Marcador de pie de página 4">
            <a:extLst>
              <a:ext uri="{FF2B5EF4-FFF2-40B4-BE49-F238E27FC236}">
                <a16:creationId xmlns:a16="http://schemas.microsoft.com/office/drawing/2014/main" id="{42E99A3C-BD91-4C3D-A640-6086D5860976}"/>
              </a:ext>
            </a:extLst>
          </p:cNvPr>
          <p:cNvSpPr>
            <a:spLocks noGrp="1"/>
          </p:cNvSpPr>
          <p:nvPr>
            <p:ph type="ftr" sz="quarter" idx="12"/>
          </p:nvPr>
        </p:nvSpPr>
        <p:spPr/>
        <p:txBody>
          <a:bodyPr/>
          <a:lstStyle/>
          <a:p>
            <a:endParaRPr lang="en-US" dirty="0"/>
          </a:p>
        </p:txBody>
      </p:sp>
      <p:sp>
        <p:nvSpPr>
          <p:cNvPr id="11" name="TextBox 10">
            <a:extLst>
              <a:ext uri="{FF2B5EF4-FFF2-40B4-BE49-F238E27FC236}">
                <a16:creationId xmlns:a16="http://schemas.microsoft.com/office/drawing/2014/main" id="{073C3AA6-F0A7-5E45-BC76-5BB976BB3E83}"/>
              </a:ext>
            </a:extLst>
          </p:cNvPr>
          <p:cNvSpPr txBox="1"/>
          <p:nvPr userDrawn="1"/>
        </p:nvSpPr>
        <p:spPr>
          <a:xfrm>
            <a:off x="192087" y="6431190"/>
            <a:ext cx="1999265" cy="215444"/>
          </a:xfrm>
          <a:prstGeom prst="rect">
            <a:avLst/>
          </a:prstGeom>
        </p:spPr>
        <p:txBody>
          <a:bodyPr vert="horz" lIns="0" tIns="0" rIns="0" bIns="0" rtlCol="0" anchor="ctr">
            <a:noAutofit/>
          </a:bodyPr>
          <a:lstStyle>
            <a:defPPr>
              <a:defRPr lang="en-US"/>
            </a:defPPr>
            <a:lvl1pPr>
              <a:defRPr sz="800">
                <a:solidFill>
                  <a:schemeClr val="tx1">
                    <a:tint val="75000"/>
                  </a:schemeClr>
                </a:solidFill>
                <a:ea typeface="Open Sans" panose="020B0606030504020204" pitchFamily="34" charset="0"/>
                <a:cs typeface="Open Sans" panose="020B0606030504020204" pitchFamily="34" charset="0"/>
              </a:defRPr>
            </a:lvl1pPr>
          </a:lstStyle>
          <a:p>
            <a:pPr lvl="0"/>
            <a:r>
              <a:rPr lang="en-AR" dirty="0">
                <a:solidFill>
                  <a:schemeClr val="bg1"/>
                </a:solidFill>
              </a:rPr>
              <a:t>@ ANKER ALL RIGHTS RESERVED 2022</a:t>
            </a:r>
          </a:p>
        </p:txBody>
      </p:sp>
      <p:sp>
        <p:nvSpPr>
          <p:cNvPr id="12" name="Rectángulo 11">
            <a:extLst>
              <a:ext uri="{FF2B5EF4-FFF2-40B4-BE49-F238E27FC236}">
                <a16:creationId xmlns:a16="http://schemas.microsoft.com/office/drawing/2014/main" id="{4BD264DF-6543-4225-ABB1-EC3D2EED10AE}"/>
              </a:ext>
            </a:extLst>
          </p:cNvPr>
          <p:cNvSpPr/>
          <p:nvPr userDrawn="1"/>
        </p:nvSpPr>
        <p:spPr>
          <a:xfrm rot="5400000">
            <a:off x="5848017" y="514021"/>
            <a:ext cx="6873616" cy="5814346"/>
          </a:xfrm>
          <a:prstGeom prst="rect">
            <a:avLst/>
          </a:prstGeom>
          <a:gradFill>
            <a:gsLst>
              <a:gs pos="0">
                <a:schemeClr val="accent3"/>
              </a:gs>
              <a:gs pos="73480">
                <a:srgbClr val="222E46">
                  <a:alpha val="18000"/>
                </a:srgbClr>
              </a:gs>
              <a:gs pos="32000">
                <a:schemeClr val="accent1">
                  <a:alpha val="42000"/>
                </a:schemeClr>
              </a:gs>
              <a:gs pos="100000">
                <a:schemeClr val="tx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2430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pic>
        <p:nvPicPr>
          <p:cNvPr id="5" name="Imagen 4" descr="Imagen que contiene animal, mamífero acuático, agua, oscuro&#10;&#10;Descripción generada automáticamente">
            <a:extLst>
              <a:ext uri="{FF2B5EF4-FFF2-40B4-BE49-F238E27FC236}">
                <a16:creationId xmlns:a16="http://schemas.microsoft.com/office/drawing/2014/main" id="{4F1725F5-294B-4E61-ABCA-864F5E33083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704" r="22460" b="22599"/>
          <a:stretch/>
        </p:blipFill>
        <p:spPr>
          <a:xfrm>
            <a:off x="5484130" y="-15611"/>
            <a:ext cx="6707869" cy="6873612"/>
          </a:xfrm>
          <a:prstGeom prst="rect">
            <a:avLst/>
          </a:prstGeom>
        </p:spPr>
      </p:pic>
      <p:sp>
        <p:nvSpPr>
          <p:cNvPr id="11" name="Rectángulo 10">
            <a:extLst>
              <a:ext uri="{FF2B5EF4-FFF2-40B4-BE49-F238E27FC236}">
                <a16:creationId xmlns:a16="http://schemas.microsoft.com/office/drawing/2014/main" id="{99235C29-EADA-46C6-B347-F566D0043375}"/>
              </a:ext>
            </a:extLst>
          </p:cNvPr>
          <p:cNvSpPr/>
          <p:nvPr userDrawn="1"/>
        </p:nvSpPr>
        <p:spPr>
          <a:xfrm rot="5400000">
            <a:off x="2735260" y="-2598737"/>
            <a:ext cx="6721475" cy="12192000"/>
          </a:xfrm>
          <a:prstGeom prst="rect">
            <a:avLst/>
          </a:prstGeom>
          <a:gradFill flip="none" rotWithShape="1">
            <a:gsLst>
              <a:gs pos="79000">
                <a:srgbClr val="233F58">
                  <a:alpha val="47000"/>
                </a:srgbClr>
              </a:gs>
              <a:gs pos="49000">
                <a:srgbClr val="25536E"/>
              </a:gs>
              <a:gs pos="0">
                <a:schemeClr val="accent3"/>
              </a:gs>
              <a:gs pos="100000">
                <a:schemeClr val="tx2">
                  <a:alpha val="16000"/>
                </a:schemeClr>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ángulo 12">
            <a:extLst>
              <a:ext uri="{FF2B5EF4-FFF2-40B4-BE49-F238E27FC236}">
                <a16:creationId xmlns:a16="http://schemas.microsoft.com/office/drawing/2014/main" id="{C62BC629-1A17-4435-949B-175BDE4B5D14}"/>
              </a:ext>
            </a:extLst>
          </p:cNvPr>
          <p:cNvSpPr/>
          <p:nvPr userDrawn="1"/>
        </p:nvSpPr>
        <p:spPr>
          <a:xfrm rot="16200000">
            <a:off x="6009159" y="-6024771"/>
            <a:ext cx="173681" cy="12192000"/>
          </a:xfrm>
          <a:prstGeom prst="rect">
            <a:avLst/>
          </a:prstGeom>
          <a:gradFill>
            <a:gsLst>
              <a:gs pos="100000">
                <a:schemeClr val="accent3"/>
              </a:gs>
              <a:gs pos="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a:extLst>
              <a:ext uri="{FF2B5EF4-FFF2-40B4-BE49-F238E27FC236}">
                <a16:creationId xmlns:a16="http://schemas.microsoft.com/office/drawing/2014/main" id="{FC60B2D9-00F6-4BF9-822E-471D1F4ADAF1}"/>
              </a:ext>
            </a:extLst>
          </p:cNvPr>
          <p:cNvGraphicFramePr>
            <a:graphicFrameLocks noChangeAspect="1"/>
          </p:cNvGraphicFramePr>
          <p:nvPr userDrawn="1">
            <p:custDataLst>
              <p:tags r:id="rId1"/>
            </p:custDataLst>
            <p:extLst>
              <p:ext uri="{D42A27DB-BD31-4B8C-83A1-F6EECF244321}">
                <p14:modId xmlns:p14="http://schemas.microsoft.com/office/powerpoint/2010/main" val="184400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6" name="Object 15" hidden="1">
                        <a:extLst>
                          <a:ext uri="{FF2B5EF4-FFF2-40B4-BE49-F238E27FC236}">
                            <a16:creationId xmlns:a16="http://schemas.microsoft.com/office/drawing/2014/main" id="{FC60B2D9-00F6-4BF9-822E-471D1F4ADA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CB484D4-7BC8-4CA4-AE2B-E5A36484CB82}"/>
              </a:ext>
            </a:extLst>
          </p:cNvPr>
          <p:cNvSpPr>
            <a:spLocks noGrp="1"/>
          </p:cNvSpPr>
          <p:nvPr>
            <p:ph type="title"/>
          </p:nvPr>
        </p:nvSpPr>
        <p:spPr>
          <a:xfrm>
            <a:off x="192087" y="287370"/>
            <a:ext cx="11807823" cy="830997"/>
          </a:xfrm>
        </p:spPr>
        <p:txBody>
          <a:bodyPr vert="horz" anchor="b"/>
          <a:lstStyle>
            <a:lvl1pPr>
              <a:defRPr sz="2800">
                <a:solidFill>
                  <a:schemeClr val="bg1"/>
                </a:solidFill>
                <a:latin typeface="+mj-lt"/>
                <a:ea typeface="Open Sans" panose="020B0606030504020204" pitchFamily="34" charset="0"/>
                <a:cs typeface="Poppins" pitchFamily="2" charset="77"/>
              </a:defRPr>
            </a:lvl1pPr>
          </a:lstStyle>
          <a:p>
            <a:r>
              <a:rPr lang="en-US" dirty="0"/>
              <a:t>Click to edit Master title style</a:t>
            </a:r>
          </a:p>
        </p:txBody>
      </p:sp>
      <p:sp>
        <p:nvSpPr>
          <p:cNvPr id="14" name="Text Placeholder 13">
            <a:extLst>
              <a:ext uri="{FF2B5EF4-FFF2-40B4-BE49-F238E27FC236}">
                <a16:creationId xmlns:a16="http://schemas.microsoft.com/office/drawing/2014/main" id="{248559AE-AE89-418A-8429-5207657E578A}"/>
              </a:ext>
            </a:extLst>
          </p:cNvPr>
          <p:cNvSpPr>
            <a:spLocks noGrp="1"/>
          </p:cNvSpPr>
          <p:nvPr>
            <p:ph type="body" sz="quarter" idx="13" hasCustomPrompt="1"/>
          </p:nvPr>
        </p:nvSpPr>
        <p:spPr>
          <a:xfrm>
            <a:off x="192088" y="1248845"/>
            <a:ext cx="11807822" cy="261610"/>
          </a:xfrm>
          <a:noFill/>
        </p:spPr>
        <p:txBody>
          <a:bodyPr wrap="square" lIns="0" tIns="46800" rIns="90000" bIns="46800" rtlCol="0">
            <a:noAutofit/>
          </a:bodyPr>
          <a:lstStyle>
            <a:lvl1pPr marL="0" indent="0">
              <a:buNone/>
              <a:defRPr lang="en-US" sz="1100" b="0" cap="all" spc="200" baseline="0" dirty="0">
                <a:solidFill>
                  <a:schemeClr val="bg1"/>
                </a:solidFill>
                <a:latin typeface="+mj-lt"/>
                <a:ea typeface="Open Sans" panose="020B0606030504020204" pitchFamily="34" charset="0"/>
                <a:cs typeface="Poppins" pitchFamily="2" charset="77"/>
              </a:defRPr>
            </a:lvl1pPr>
          </a:lstStyle>
          <a:p>
            <a:pPr marL="0" lvl="0"/>
            <a:r>
              <a:rPr lang="en-US" dirty="0"/>
              <a:t>subtitle</a:t>
            </a:r>
          </a:p>
        </p:txBody>
      </p:sp>
      <p:sp>
        <p:nvSpPr>
          <p:cNvPr id="19" name="Text Placeholder 18">
            <a:extLst>
              <a:ext uri="{FF2B5EF4-FFF2-40B4-BE49-F238E27FC236}">
                <a16:creationId xmlns:a16="http://schemas.microsoft.com/office/drawing/2014/main" id="{387E60F8-4261-47AD-8B45-F0662BEC253C}"/>
              </a:ext>
            </a:extLst>
          </p:cNvPr>
          <p:cNvSpPr>
            <a:spLocks noGrp="1"/>
          </p:cNvSpPr>
          <p:nvPr>
            <p:ph type="body" sz="quarter" idx="14" hasCustomPrompt="1"/>
          </p:nvPr>
        </p:nvSpPr>
        <p:spPr>
          <a:xfrm>
            <a:off x="192088" y="1149663"/>
            <a:ext cx="300038" cy="10800"/>
          </a:xfrm>
          <a:solidFill>
            <a:schemeClr val="accent5"/>
          </a:solidFill>
        </p:spPr>
        <p:txBody>
          <a:bodyPr/>
          <a:lstStyle>
            <a:lvl1pPr marL="0" indent="0">
              <a:buNone/>
              <a:defRPr/>
            </a:lvl1pPr>
          </a:lstStyle>
          <a:p>
            <a:pPr lvl="0"/>
            <a:r>
              <a:rPr lang="en-US" dirty="0"/>
              <a:t> </a:t>
            </a:r>
          </a:p>
        </p:txBody>
      </p:sp>
      <p:sp>
        <p:nvSpPr>
          <p:cNvPr id="23" name="Slide Number Placeholder 22">
            <a:extLst>
              <a:ext uri="{FF2B5EF4-FFF2-40B4-BE49-F238E27FC236}">
                <a16:creationId xmlns:a16="http://schemas.microsoft.com/office/drawing/2014/main" id="{3848D985-51C8-45E1-935E-F44F20104B00}"/>
              </a:ext>
            </a:extLst>
          </p:cNvPr>
          <p:cNvSpPr>
            <a:spLocks noGrp="1"/>
          </p:cNvSpPr>
          <p:nvPr>
            <p:ph type="sldNum" sz="quarter" idx="17"/>
          </p:nvPr>
        </p:nvSpPr>
        <p:spPr/>
        <p:txBody>
          <a:bodyPr/>
          <a:lstStyle/>
          <a:p>
            <a:fld id="{9F427BA5-3988-40EC-8E11-9F7B5510E66B}" type="slidenum">
              <a:rPr lang="en-GB" smtClean="0"/>
              <a:pPr/>
              <a:t>‹#›</a:t>
            </a:fld>
            <a:endParaRPr lang="en-GB"/>
          </a:p>
        </p:txBody>
      </p:sp>
      <p:sp>
        <p:nvSpPr>
          <p:cNvPr id="15" name="TextBox 14">
            <a:extLst>
              <a:ext uri="{FF2B5EF4-FFF2-40B4-BE49-F238E27FC236}">
                <a16:creationId xmlns:a16="http://schemas.microsoft.com/office/drawing/2014/main" id="{10409003-A800-1E40-A100-2951263ECB69}"/>
              </a:ext>
            </a:extLst>
          </p:cNvPr>
          <p:cNvSpPr txBox="1"/>
          <p:nvPr userDrawn="1"/>
        </p:nvSpPr>
        <p:spPr>
          <a:xfrm>
            <a:off x="192087" y="6431190"/>
            <a:ext cx="1999265" cy="215444"/>
          </a:xfrm>
          <a:prstGeom prst="rect">
            <a:avLst/>
          </a:prstGeom>
        </p:spPr>
        <p:txBody>
          <a:bodyPr vert="horz" lIns="0" tIns="0" rIns="0" bIns="0" rtlCol="0" anchor="ctr">
            <a:noAutofit/>
          </a:bodyPr>
          <a:lstStyle>
            <a:defPPr>
              <a:defRPr lang="en-US"/>
            </a:defPPr>
            <a:lvl1pPr>
              <a:defRPr sz="800">
                <a:solidFill>
                  <a:schemeClr val="tx1">
                    <a:tint val="75000"/>
                  </a:schemeClr>
                </a:solidFill>
                <a:ea typeface="Open Sans" panose="020B0606030504020204" pitchFamily="34" charset="0"/>
                <a:cs typeface="Open Sans" panose="020B0606030504020204" pitchFamily="34" charset="0"/>
              </a:defRPr>
            </a:lvl1pPr>
          </a:lstStyle>
          <a:p>
            <a:pPr lvl="0"/>
            <a:r>
              <a:rPr lang="en-AR" dirty="0">
                <a:solidFill>
                  <a:schemeClr val="bg1"/>
                </a:solidFill>
              </a:rPr>
              <a:t>@ ANKER ALL RIGHTS RESERVED 2022</a:t>
            </a:r>
          </a:p>
        </p:txBody>
      </p:sp>
    </p:spTree>
    <p:extLst>
      <p:ext uri="{BB962C8B-B14F-4D97-AF65-F5344CB8AC3E}">
        <p14:creationId xmlns:p14="http://schemas.microsoft.com/office/powerpoint/2010/main" val="3513819203"/>
      </p:ext>
    </p:extLst>
  </p:cSld>
  <p:clrMapOvr>
    <a:masterClrMapping/>
  </p:clrMapOvr>
  <p:extLst>
    <p:ext uri="{DCECCB84-F9BA-43D5-87BE-67443E8EF086}">
      <p15:sldGuideLst xmlns:p15="http://schemas.microsoft.com/office/powerpoint/2012/main">
        <p15:guide id="1" orient="horz" pos="102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pic>
        <p:nvPicPr>
          <p:cNvPr id="10" name="Imagen 9" descr="Un par de personas con instrumentos musicales y micrófonos en un escenario&#10;&#10;Descripción generada automáticamente con confianza baja">
            <a:extLst>
              <a:ext uri="{FF2B5EF4-FFF2-40B4-BE49-F238E27FC236}">
                <a16:creationId xmlns:a16="http://schemas.microsoft.com/office/drawing/2014/main" id="{3F18D1E1-0F55-4458-ABA6-006AA34A69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0104" r="22716" b="12436"/>
          <a:stretch/>
        </p:blipFill>
        <p:spPr>
          <a:xfrm>
            <a:off x="0" y="-15613"/>
            <a:ext cx="12191999" cy="6873613"/>
          </a:xfrm>
          <a:prstGeom prst="rect">
            <a:avLst/>
          </a:prstGeom>
        </p:spPr>
      </p:pic>
      <p:sp>
        <p:nvSpPr>
          <p:cNvPr id="11" name="Rectángulo 10">
            <a:extLst>
              <a:ext uri="{FF2B5EF4-FFF2-40B4-BE49-F238E27FC236}">
                <a16:creationId xmlns:a16="http://schemas.microsoft.com/office/drawing/2014/main" id="{99235C29-EADA-46C6-B347-F566D0043375}"/>
              </a:ext>
            </a:extLst>
          </p:cNvPr>
          <p:cNvSpPr/>
          <p:nvPr userDrawn="1"/>
        </p:nvSpPr>
        <p:spPr>
          <a:xfrm rot="5400000">
            <a:off x="2682642" y="-2651359"/>
            <a:ext cx="6826722" cy="12192000"/>
          </a:xfrm>
          <a:prstGeom prst="rect">
            <a:avLst/>
          </a:prstGeom>
          <a:gradFill>
            <a:gsLst>
              <a:gs pos="0">
                <a:srgbClr val="1049A5"/>
              </a:gs>
              <a:gs pos="32000">
                <a:schemeClr val="accent1">
                  <a:alpha val="72000"/>
                </a:schemeClr>
              </a:gs>
              <a:gs pos="100000">
                <a:schemeClr val="tx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ángulo 12">
            <a:extLst>
              <a:ext uri="{FF2B5EF4-FFF2-40B4-BE49-F238E27FC236}">
                <a16:creationId xmlns:a16="http://schemas.microsoft.com/office/drawing/2014/main" id="{C62BC629-1A17-4435-949B-175BDE4B5D14}"/>
              </a:ext>
            </a:extLst>
          </p:cNvPr>
          <p:cNvSpPr/>
          <p:nvPr userDrawn="1"/>
        </p:nvSpPr>
        <p:spPr>
          <a:xfrm rot="16200000">
            <a:off x="6009159" y="-6024771"/>
            <a:ext cx="173681" cy="12192000"/>
          </a:xfrm>
          <a:prstGeom prst="rect">
            <a:avLst/>
          </a:prstGeom>
          <a:gradFill>
            <a:gsLst>
              <a:gs pos="100000">
                <a:schemeClr val="accent3"/>
              </a:gs>
              <a:gs pos="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a:extLst>
              <a:ext uri="{FF2B5EF4-FFF2-40B4-BE49-F238E27FC236}">
                <a16:creationId xmlns:a16="http://schemas.microsoft.com/office/drawing/2014/main" id="{FC60B2D9-00F6-4BF9-822E-471D1F4ADAF1}"/>
              </a:ext>
            </a:extLst>
          </p:cNvPr>
          <p:cNvGraphicFramePr>
            <a:graphicFrameLocks noChangeAspect="1"/>
          </p:cNvGraphicFramePr>
          <p:nvPr userDrawn="1">
            <p:custDataLst>
              <p:tags r:id="rId1"/>
            </p:custDataLst>
            <p:extLst>
              <p:ext uri="{D42A27DB-BD31-4B8C-83A1-F6EECF244321}">
                <p14:modId xmlns:p14="http://schemas.microsoft.com/office/powerpoint/2010/main" val="184400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6" name="Object 15" hidden="1">
                        <a:extLst>
                          <a:ext uri="{FF2B5EF4-FFF2-40B4-BE49-F238E27FC236}">
                            <a16:creationId xmlns:a16="http://schemas.microsoft.com/office/drawing/2014/main" id="{FC60B2D9-00F6-4BF9-822E-471D1F4ADA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CB484D4-7BC8-4CA4-AE2B-E5A36484CB82}"/>
              </a:ext>
            </a:extLst>
          </p:cNvPr>
          <p:cNvSpPr>
            <a:spLocks noGrp="1"/>
          </p:cNvSpPr>
          <p:nvPr>
            <p:ph type="title"/>
          </p:nvPr>
        </p:nvSpPr>
        <p:spPr>
          <a:xfrm>
            <a:off x="192087" y="287370"/>
            <a:ext cx="11807823" cy="830997"/>
          </a:xfrm>
        </p:spPr>
        <p:txBody>
          <a:bodyPr vert="horz" anchor="b"/>
          <a:lstStyle>
            <a:lvl1pPr>
              <a:defRPr sz="2800">
                <a:solidFill>
                  <a:schemeClr val="bg1"/>
                </a:solidFill>
                <a:latin typeface="+mj-lt"/>
                <a:ea typeface="Open Sans" panose="020B0606030504020204" pitchFamily="34" charset="0"/>
                <a:cs typeface="Poppins" pitchFamily="2" charset="77"/>
              </a:defRPr>
            </a:lvl1pPr>
          </a:lstStyle>
          <a:p>
            <a:r>
              <a:rPr lang="en-US" dirty="0"/>
              <a:t>Click to edit Master title style</a:t>
            </a:r>
          </a:p>
        </p:txBody>
      </p:sp>
      <p:sp>
        <p:nvSpPr>
          <p:cNvPr id="14" name="Text Placeholder 13">
            <a:extLst>
              <a:ext uri="{FF2B5EF4-FFF2-40B4-BE49-F238E27FC236}">
                <a16:creationId xmlns:a16="http://schemas.microsoft.com/office/drawing/2014/main" id="{248559AE-AE89-418A-8429-5207657E578A}"/>
              </a:ext>
            </a:extLst>
          </p:cNvPr>
          <p:cNvSpPr>
            <a:spLocks noGrp="1"/>
          </p:cNvSpPr>
          <p:nvPr>
            <p:ph type="body" sz="quarter" idx="13" hasCustomPrompt="1"/>
          </p:nvPr>
        </p:nvSpPr>
        <p:spPr>
          <a:xfrm>
            <a:off x="192088" y="1248845"/>
            <a:ext cx="11807822" cy="261610"/>
          </a:xfrm>
          <a:noFill/>
        </p:spPr>
        <p:txBody>
          <a:bodyPr wrap="square" lIns="0" tIns="46800" rIns="90000" bIns="46800" rtlCol="0">
            <a:noAutofit/>
          </a:bodyPr>
          <a:lstStyle>
            <a:lvl1pPr marL="0" indent="0">
              <a:buNone/>
              <a:defRPr lang="en-US" sz="1100" b="0" cap="all" spc="200" baseline="0" dirty="0">
                <a:solidFill>
                  <a:schemeClr val="bg1"/>
                </a:solidFill>
                <a:latin typeface="+mj-lt"/>
                <a:ea typeface="Open Sans" panose="020B0606030504020204" pitchFamily="34" charset="0"/>
                <a:cs typeface="Poppins" pitchFamily="2" charset="77"/>
              </a:defRPr>
            </a:lvl1pPr>
          </a:lstStyle>
          <a:p>
            <a:pPr marL="0" lvl="0"/>
            <a:r>
              <a:rPr lang="en-US" dirty="0"/>
              <a:t>subtitle</a:t>
            </a:r>
          </a:p>
        </p:txBody>
      </p:sp>
      <p:sp>
        <p:nvSpPr>
          <p:cNvPr id="19" name="Text Placeholder 18">
            <a:extLst>
              <a:ext uri="{FF2B5EF4-FFF2-40B4-BE49-F238E27FC236}">
                <a16:creationId xmlns:a16="http://schemas.microsoft.com/office/drawing/2014/main" id="{387E60F8-4261-47AD-8B45-F0662BEC253C}"/>
              </a:ext>
            </a:extLst>
          </p:cNvPr>
          <p:cNvSpPr>
            <a:spLocks noGrp="1"/>
          </p:cNvSpPr>
          <p:nvPr>
            <p:ph type="body" sz="quarter" idx="14" hasCustomPrompt="1"/>
          </p:nvPr>
        </p:nvSpPr>
        <p:spPr>
          <a:xfrm>
            <a:off x="192088" y="1149663"/>
            <a:ext cx="300038" cy="10800"/>
          </a:xfrm>
          <a:solidFill>
            <a:schemeClr val="accent5"/>
          </a:solidFill>
        </p:spPr>
        <p:txBody>
          <a:bodyPr/>
          <a:lstStyle>
            <a:lvl1pPr marL="0" indent="0">
              <a:buNone/>
              <a:defRPr/>
            </a:lvl1pPr>
          </a:lstStyle>
          <a:p>
            <a:pPr lvl="0"/>
            <a:r>
              <a:rPr lang="en-US" dirty="0"/>
              <a:t> </a:t>
            </a:r>
          </a:p>
        </p:txBody>
      </p:sp>
      <p:sp>
        <p:nvSpPr>
          <p:cNvPr id="23" name="Slide Number Placeholder 22">
            <a:extLst>
              <a:ext uri="{FF2B5EF4-FFF2-40B4-BE49-F238E27FC236}">
                <a16:creationId xmlns:a16="http://schemas.microsoft.com/office/drawing/2014/main" id="{3848D985-51C8-45E1-935E-F44F20104B00}"/>
              </a:ext>
            </a:extLst>
          </p:cNvPr>
          <p:cNvSpPr>
            <a:spLocks noGrp="1"/>
          </p:cNvSpPr>
          <p:nvPr>
            <p:ph type="sldNum" sz="quarter" idx="17"/>
          </p:nvPr>
        </p:nvSpPr>
        <p:spPr/>
        <p:txBody>
          <a:bodyPr/>
          <a:lstStyle/>
          <a:p>
            <a:fld id="{9F427BA5-3988-40EC-8E11-9F7B5510E66B}" type="slidenum">
              <a:rPr lang="en-GB" smtClean="0"/>
              <a:pPr/>
              <a:t>‹#›</a:t>
            </a:fld>
            <a:endParaRPr lang="en-GB"/>
          </a:p>
        </p:txBody>
      </p:sp>
      <p:sp>
        <p:nvSpPr>
          <p:cNvPr id="15" name="TextBox 14">
            <a:extLst>
              <a:ext uri="{FF2B5EF4-FFF2-40B4-BE49-F238E27FC236}">
                <a16:creationId xmlns:a16="http://schemas.microsoft.com/office/drawing/2014/main" id="{590F33FD-1723-7845-9C24-72781C8922DC}"/>
              </a:ext>
            </a:extLst>
          </p:cNvPr>
          <p:cNvSpPr txBox="1"/>
          <p:nvPr userDrawn="1"/>
        </p:nvSpPr>
        <p:spPr>
          <a:xfrm>
            <a:off x="192087" y="6431190"/>
            <a:ext cx="1999265" cy="215444"/>
          </a:xfrm>
          <a:prstGeom prst="rect">
            <a:avLst/>
          </a:prstGeom>
        </p:spPr>
        <p:txBody>
          <a:bodyPr vert="horz" lIns="0" tIns="0" rIns="0" bIns="0" rtlCol="0" anchor="ctr">
            <a:noAutofit/>
          </a:bodyPr>
          <a:lstStyle>
            <a:defPPr>
              <a:defRPr lang="en-US"/>
            </a:defPPr>
            <a:lvl1pPr>
              <a:defRPr sz="800">
                <a:solidFill>
                  <a:schemeClr val="tx1">
                    <a:tint val="75000"/>
                  </a:schemeClr>
                </a:solidFill>
                <a:ea typeface="Open Sans" panose="020B0606030504020204" pitchFamily="34" charset="0"/>
                <a:cs typeface="Open Sans" panose="020B0606030504020204" pitchFamily="34" charset="0"/>
              </a:defRPr>
            </a:lvl1pPr>
          </a:lstStyle>
          <a:p>
            <a:pPr lvl="0"/>
            <a:r>
              <a:rPr lang="en-AR" dirty="0">
                <a:solidFill>
                  <a:schemeClr val="bg1"/>
                </a:solidFill>
              </a:rPr>
              <a:t>@ ANKER ALL RIGHTS RESERVED 2022</a:t>
            </a:r>
          </a:p>
        </p:txBody>
      </p:sp>
    </p:spTree>
    <p:extLst>
      <p:ext uri="{BB962C8B-B14F-4D97-AF65-F5344CB8AC3E}">
        <p14:creationId xmlns:p14="http://schemas.microsoft.com/office/powerpoint/2010/main" val="1674400811"/>
      </p:ext>
    </p:extLst>
  </p:cSld>
  <p:clrMapOvr>
    <a:masterClrMapping/>
  </p:clrMapOvr>
  <p:extLst>
    <p:ext uri="{DCECCB84-F9BA-43D5-87BE-67443E8EF086}">
      <p15:sldGuideLst xmlns:p15="http://schemas.microsoft.com/office/powerpoint/2012/main">
        <p15:guide id="1" orient="horz" pos="102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10933A-98D8-4862-A225-0A72D670A929}"/>
              </a:ext>
            </a:extLst>
          </p:cNvPr>
          <p:cNvGraphicFramePr>
            <a:graphicFrameLocks noChangeAspect="1"/>
          </p:cNvGraphicFramePr>
          <p:nvPr userDrawn="1">
            <p:custDataLst>
              <p:tags r:id="rId17"/>
            </p:custDataLst>
            <p:extLst>
              <p:ext uri="{D42A27DB-BD31-4B8C-83A1-F6EECF244321}">
                <p14:modId xmlns:p14="http://schemas.microsoft.com/office/powerpoint/2010/main" val="17413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98" imgH="499" progId="TCLayout.ActiveDocument.1">
                  <p:embed/>
                </p:oleObj>
              </mc:Choice>
              <mc:Fallback>
                <p:oleObj name="think-cell Slide" r:id="rId18" imgW="498" imgH="499"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F3BE918-4282-471D-AFC8-B25DA8169CE9}"/>
              </a:ext>
            </a:extLst>
          </p:cNvPr>
          <p:cNvSpPr>
            <a:spLocks noGrp="1"/>
          </p:cNvSpPr>
          <p:nvPr>
            <p:ph type="title"/>
          </p:nvPr>
        </p:nvSpPr>
        <p:spPr>
          <a:xfrm>
            <a:off x="192087" y="160370"/>
            <a:ext cx="11807823" cy="830997"/>
          </a:xfrm>
          <a:prstGeom prst="rect">
            <a:avLst/>
          </a:prstGeom>
          <a:noFill/>
        </p:spPr>
        <p:txBody>
          <a:bodyPr vert="horz" wrap="square" lIns="0" tIns="0" bIns="0" rtlCol="0">
            <a:noAutofit/>
          </a:bodyPr>
          <a:lstStyle/>
          <a:p>
            <a:pPr marL="0" lvl="0"/>
            <a:r>
              <a:rPr lang="en-US" dirty="0"/>
              <a:t>Click to edit Master title style</a:t>
            </a:r>
          </a:p>
        </p:txBody>
      </p:sp>
      <p:sp>
        <p:nvSpPr>
          <p:cNvPr id="3" name="Text Placeholder 2">
            <a:extLst>
              <a:ext uri="{FF2B5EF4-FFF2-40B4-BE49-F238E27FC236}">
                <a16:creationId xmlns:a16="http://schemas.microsoft.com/office/drawing/2014/main" id="{A1594FD2-1AD9-4AD4-BA51-1C9EE5B7255B}"/>
              </a:ext>
            </a:extLst>
          </p:cNvPr>
          <p:cNvSpPr>
            <a:spLocks noGrp="1"/>
          </p:cNvSpPr>
          <p:nvPr>
            <p:ph type="body" idx="1"/>
          </p:nvPr>
        </p:nvSpPr>
        <p:spPr>
          <a:xfrm>
            <a:off x="192089" y="2324100"/>
            <a:ext cx="11807824" cy="3913188"/>
          </a:xfrm>
          <a:prstGeom prst="rect">
            <a:avLst/>
          </a:prstGeom>
        </p:spPr>
        <p:txBody>
          <a:bodyPr lIns="0" tIns="0" rIns="0" bIns="0">
            <a:noAutofit/>
          </a:bodyPr>
          <a:lstStyle/>
          <a:p>
            <a:pPr lvl="0">
              <a:lnSpc>
                <a:spcPct val="100000"/>
              </a:lnSpc>
              <a:spcBef>
                <a:spcPts val="1200"/>
              </a:spcBef>
              <a:spcAft>
                <a:spcPts val="1200"/>
              </a:spcAft>
              <a:buClr>
                <a:schemeClr val="accent1"/>
              </a:buCl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5ECA4E77-4C11-4ED1-B3C8-DC2B25A56395}"/>
              </a:ext>
            </a:extLst>
          </p:cNvPr>
          <p:cNvSpPr>
            <a:spLocks noGrp="1"/>
          </p:cNvSpPr>
          <p:nvPr>
            <p:ph type="sldNum" sz="quarter" idx="4"/>
          </p:nvPr>
        </p:nvSpPr>
        <p:spPr>
          <a:xfrm>
            <a:off x="11425287" y="6356350"/>
            <a:ext cx="574626" cy="365125"/>
          </a:xfrm>
          <a:prstGeom prst="rect">
            <a:avLst/>
          </a:prstGeom>
        </p:spPr>
        <p:txBody>
          <a:bodyPr vert="horz" lIns="0" tIns="0" rIns="0" bIns="45720" rtlCol="0" anchor="ctr">
            <a:noAutofit/>
          </a:bodyPr>
          <a:lstStyle>
            <a:lvl1pPr algn="r">
              <a:defRPr lang="en-US" sz="800" smtClean="0">
                <a:solidFill>
                  <a:schemeClr val="tx1">
                    <a:tint val="75000"/>
                  </a:schemeClr>
                </a:solidFill>
                <a:latin typeface="+mn-lt"/>
                <a:ea typeface="Open Sans" panose="020B0606030504020204" pitchFamily="34" charset="0"/>
                <a:cs typeface="Open Sans" panose="020B0606030504020204" pitchFamily="34" charset="0"/>
              </a:defRPr>
            </a:lvl1pPr>
          </a:lstStyle>
          <a:p>
            <a:fld id="{9F427BA5-3988-40EC-8E11-9F7B5510E66B}" type="slidenum">
              <a:rPr lang="en-GB" smtClean="0"/>
              <a:pPr/>
              <a:t>‹#›</a:t>
            </a:fld>
            <a:endParaRPr lang="en-GB" dirty="0"/>
          </a:p>
        </p:txBody>
      </p:sp>
      <p:sp>
        <p:nvSpPr>
          <p:cNvPr id="16" name="Footer Placeholder 15">
            <a:extLst>
              <a:ext uri="{FF2B5EF4-FFF2-40B4-BE49-F238E27FC236}">
                <a16:creationId xmlns:a16="http://schemas.microsoft.com/office/drawing/2014/main" id="{97642001-91C6-4160-A80E-4B0FCF6E6953}"/>
              </a:ext>
            </a:extLst>
          </p:cNvPr>
          <p:cNvSpPr>
            <a:spLocks noGrp="1"/>
          </p:cNvSpPr>
          <p:nvPr>
            <p:ph type="ftr" sz="quarter" idx="3"/>
          </p:nvPr>
        </p:nvSpPr>
        <p:spPr>
          <a:xfrm>
            <a:off x="4324355" y="6356350"/>
            <a:ext cx="4286243" cy="365125"/>
          </a:xfrm>
          <a:prstGeom prst="rect">
            <a:avLst/>
          </a:prstGeom>
        </p:spPr>
        <p:txBody>
          <a:bodyPr vert="horz" lIns="91440" tIns="45720" rIns="91440" bIns="45720" rtlCol="0" anchor="ctr"/>
          <a:lstStyle>
            <a:lvl1pPr algn="l">
              <a:defRPr sz="800">
                <a:solidFill>
                  <a:schemeClr val="tx1">
                    <a:tint val="75000"/>
                  </a:schemeClr>
                </a:solidFill>
                <a:latin typeface="+mn-lt"/>
                <a:ea typeface="Open Sans" panose="020B0606030504020204" pitchFamily="34" charset="0"/>
                <a:cs typeface="Open Sans" panose="020B0606030504020204" pitchFamily="34" charset="0"/>
              </a:defRPr>
            </a:lvl1pPr>
          </a:lstStyle>
          <a:p>
            <a:endParaRPr lang="en-US" dirty="0"/>
          </a:p>
        </p:txBody>
      </p:sp>
      <p:sp>
        <p:nvSpPr>
          <p:cNvPr id="5" name="Rectangle 4">
            <a:extLst>
              <a:ext uri="{FF2B5EF4-FFF2-40B4-BE49-F238E27FC236}">
                <a16:creationId xmlns:a16="http://schemas.microsoft.com/office/drawing/2014/main" id="{8EF15309-4BD6-4B0F-8E0B-B525B294D357}"/>
              </a:ext>
            </a:extLst>
          </p:cNvPr>
          <p:cNvSpPr/>
          <p:nvPr userDrawn="1"/>
        </p:nvSpPr>
        <p:spPr>
          <a:xfrm>
            <a:off x="-615950" y="0"/>
            <a:ext cx="360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BF061AC-0096-48AF-A024-D0CD603B02A3}"/>
              </a:ext>
            </a:extLst>
          </p:cNvPr>
          <p:cNvSpPr/>
          <p:nvPr userDrawn="1"/>
        </p:nvSpPr>
        <p:spPr>
          <a:xfrm>
            <a:off x="-615950" y="485122"/>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DDD02FA-59EA-4A44-9833-C01E80910818}"/>
              </a:ext>
            </a:extLst>
          </p:cNvPr>
          <p:cNvSpPr/>
          <p:nvPr userDrawn="1"/>
        </p:nvSpPr>
        <p:spPr>
          <a:xfrm>
            <a:off x="-615950" y="970244"/>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0830BCF-69F3-42B4-94A1-CD888A465453}"/>
              </a:ext>
            </a:extLst>
          </p:cNvPr>
          <p:cNvSpPr/>
          <p:nvPr userDrawn="1"/>
        </p:nvSpPr>
        <p:spPr>
          <a:xfrm>
            <a:off x="-615950" y="1455366"/>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5F35C8D-CE54-47F6-9938-553F97CB03D9}"/>
              </a:ext>
            </a:extLst>
          </p:cNvPr>
          <p:cNvSpPr/>
          <p:nvPr userDrawn="1"/>
        </p:nvSpPr>
        <p:spPr>
          <a:xfrm>
            <a:off x="-615950" y="1940488"/>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363F1FB-F0DF-4F23-9332-0A73D9B49E0D}"/>
              </a:ext>
            </a:extLst>
          </p:cNvPr>
          <p:cNvSpPr/>
          <p:nvPr userDrawn="1"/>
        </p:nvSpPr>
        <p:spPr>
          <a:xfrm>
            <a:off x="-615950" y="2425608"/>
            <a:ext cx="360000" cy="36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DA04AFE-65F7-1B4B-9A54-F285EE44AC52}"/>
              </a:ext>
            </a:extLst>
          </p:cNvPr>
          <p:cNvSpPr txBox="1"/>
          <p:nvPr userDrawn="1"/>
        </p:nvSpPr>
        <p:spPr>
          <a:xfrm>
            <a:off x="192087" y="6431190"/>
            <a:ext cx="1999265" cy="215444"/>
          </a:xfrm>
          <a:prstGeom prst="rect">
            <a:avLst/>
          </a:prstGeom>
        </p:spPr>
        <p:txBody>
          <a:bodyPr vert="horz" lIns="0" tIns="0" rIns="0" bIns="0" rtlCol="0" anchor="ctr">
            <a:noAutofit/>
          </a:bodyPr>
          <a:lstStyle>
            <a:defPPr>
              <a:defRPr lang="en-US"/>
            </a:defPPr>
            <a:lvl1pPr>
              <a:defRPr sz="800">
                <a:solidFill>
                  <a:schemeClr val="tx1">
                    <a:tint val="75000"/>
                  </a:schemeClr>
                </a:solidFill>
                <a:ea typeface="Open Sans" panose="020B0606030504020204" pitchFamily="34" charset="0"/>
                <a:cs typeface="Open Sans" panose="020B0606030504020204" pitchFamily="34" charset="0"/>
              </a:defRPr>
            </a:lvl1pPr>
          </a:lstStyle>
          <a:p>
            <a:pPr lvl="0"/>
            <a:r>
              <a:rPr lang="en-AR" dirty="0"/>
              <a:t>@ ANKER ALL RIGHTS </a:t>
            </a:r>
            <a:r>
              <a:rPr lang="en-AR"/>
              <a:t>RESERVED 202</a:t>
            </a:r>
            <a:r>
              <a:rPr lang="en-US" dirty="0"/>
              <a:t>3</a:t>
            </a:r>
            <a:endParaRPr lang="en-AR" dirty="0"/>
          </a:p>
        </p:txBody>
      </p:sp>
      <p:grpSp>
        <p:nvGrpSpPr>
          <p:cNvPr id="14" name="Grupo 13">
            <a:extLst>
              <a:ext uri="{FF2B5EF4-FFF2-40B4-BE49-F238E27FC236}">
                <a16:creationId xmlns:a16="http://schemas.microsoft.com/office/drawing/2014/main" id="{C958B197-D28B-45C3-ACE2-D6C1B9BCE5B3}"/>
              </a:ext>
            </a:extLst>
          </p:cNvPr>
          <p:cNvGrpSpPr/>
          <p:nvPr userDrawn="1"/>
        </p:nvGrpSpPr>
        <p:grpSpPr>
          <a:xfrm>
            <a:off x="-618262" y="3183900"/>
            <a:ext cx="238095" cy="1899377"/>
            <a:chOff x="-588766" y="3164236"/>
            <a:chExt cx="385220" cy="3073052"/>
          </a:xfrm>
        </p:grpSpPr>
        <p:sp>
          <p:nvSpPr>
            <p:cNvPr id="15" name="Rectángulo 14">
              <a:extLst>
                <a:ext uri="{FF2B5EF4-FFF2-40B4-BE49-F238E27FC236}">
                  <a16:creationId xmlns:a16="http://schemas.microsoft.com/office/drawing/2014/main" id="{522D5835-1A03-446F-891D-D9B04F7018EF}"/>
                </a:ext>
              </a:extLst>
            </p:cNvPr>
            <p:cNvSpPr/>
            <p:nvPr userDrawn="1"/>
          </p:nvSpPr>
          <p:spPr>
            <a:xfrm>
              <a:off x="-588766" y="3164236"/>
              <a:ext cx="385220" cy="385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ángulo 16">
              <a:extLst>
                <a:ext uri="{FF2B5EF4-FFF2-40B4-BE49-F238E27FC236}">
                  <a16:creationId xmlns:a16="http://schemas.microsoft.com/office/drawing/2014/main" id="{FDF2041C-2474-4847-BB54-9AD0B706D4EF}"/>
                </a:ext>
              </a:extLst>
            </p:cNvPr>
            <p:cNvSpPr/>
            <p:nvPr userDrawn="1"/>
          </p:nvSpPr>
          <p:spPr>
            <a:xfrm>
              <a:off x="-588766" y="4223539"/>
              <a:ext cx="385220" cy="385220"/>
            </a:xfrm>
            <a:prstGeom prst="rect">
              <a:avLst/>
            </a:prstGeom>
            <a:solidFill>
              <a:srgbClr val="EC5E0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ángulo 17">
              <a:extLst>
                <a:ext uri="{FF2B5EF4-FFF2-40B4-BE49-F238E27FC236}">
                  <a16:creationId xmlns:a16="http://schemas.microsoft.com/office/drawing/2014/main" id="{6565959C-7AD9-4711-8760-4847671EB3AE}"/>
                </a:ext>
              </a:extLst>
            </p:cNvPr>
            <p:cNvSpPr/>
            <p:nvPr userDrawn="1"/>
          </p:nvSpPr>
          <p:spPr>
            <a:xfrm>
              <a:off x="-588766" y="4766382"/>
              <a:ext cx="385220" cy="385220"/>
            </a:xfrm>
            <a:prstGeom prst="rect">
              <a:avLst/>
            </a:prstGeom>
            <a:solidFill>
              <a:srgbClr val="9FBE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ángulo 18">
              <a:extLst>
                <a:ext uri="{FF2B5EF4-FFF2-40B4-BE49-F238E27FC236}">
                  <a16:creationId xmlns:a16="http://schemas.microsoft.com/office/drawing/2014/main" id="{796D1B9A-0803-4982-9E56-ED167F59D42E}"/>
                </a:ext>
              </a:extLst>
            </p:cNvPr>
            <p:cNvSpPr/>
            <p:nvPr userDrawn="1"/>
          </p:nvSpPr>
          <p:spPr>
            <a:xfrm>
              <a:off x="-588766" y="5309225"/>
              <a:ext cx="385220" cy="385220"/>
            </a:xfrm>
            <a:prstGeom prst="rect">
              <a:avLst/>
            </a:prstGeom>
            <a:solidFill>
              <a:srgbClr val="FCD23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ángulo 19">
              <a:extLst>
                <a:ext uri="{FF2B5EF4-FFF2-40B4-BE49-F238E27FC236}">
                  <a16:creationId xmlns:a16="http://schemas.microsoft.com/office/drawing/2014/main" id="{8C4B9C57-4C7A-4A7A-AA38-B0DE3D67C3E7}"/>
                </a:ext>
              </a:extLst>
            </p:cNvPr>
            <p:cNvSpPr/>
            <p:nvPr userDrawn="1"/>
          </p:nvSpPr>
          <p:spPr>
            <a:xfrm>
              <a:off x="-588766" y="5852068"/>
              <a:ext cx="385220" cy="385220"/>
            </a:xfrm>
            <a:prstGeom prst="rect">
              <a:avLst/>
            </a:prstGeom>
            <a:solidFill>
              <a:srgbClr val="DFC9E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ángulo 20">
              <a:extLst>
                <a:ext uri="{FF2B5EF4-FFF2-40B4-BE49-F238E27FC236}">
                  <a16:creationId xmlns:a16="http://schemas.microsoft.com/office/drawing/2014/main" id="{57C33325-D4B9-4DD3-BD35-18DFD285FAEC}"/>
                </a:ext>
              </a:extLst>
            </p:cNvPr>
            <p:cNvSpPr/>
            <p:nvPr userDrawn="1"/>
          </p:nvSpPr>
          <p:spPr>
            <a:xfrm>
              <a:off x="-588766" y="3680696"/>
              <a:ext cx="385220" cy="38522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CuadroTexto 21">
            <a:extLst>
              <a:ext uri="{FF2B5EF4-FFF2-40B4-BE49-F238E27FC236}">
                <a16:creationId xmlns:a16="http://schemas.microsoft.com/office/drawing/2014/main" id="{D31CAB1C-BCAC-45DC-9ED8-8A017E4AD812}"/>
              </a:ext>
            </a:extLst>
          </p:cNvPr>
          <p:cNvSpPr txBox="1"/>
          <p:nvPr userDrawn="1"/>
        </p:nvSpPr>
        <p:spPr>
          <a:xfrm rot="16200000">
            <a:off x="-1523585" y="3945919"/>
            <a:ext cx="1585731" cy="261610"/>
          </a:xfrm>
          <a:prstGeom prst="rect">
            <a:avLst/>
          </a:prstGeom>
          <a:noFill/>
        </p:spPr>
        <p:txBody>
          <a:bodyPr wrap="square" rtlCol="0">
            <a:spAutoFit/>
          </a:bodyPr>
          <a:lstStyle/>
          <a:p>
            <a:pPr algn="ctr"/>
            <a:r>
              <a:rPr lang="es-AR" sz="1100" dirty="0">
                <a:solidFill>
                  <a:schemeClr val="bg1"/>
                </a:solidFill>
              </a:rPr>
              <a:t>PALETA GRAFICOS</a:t>
            </a:r>
            <a:endParaRPr lang="en-US" sz="1100" dirty="0">
              <a:solidFill>
                <a:schemeClr val="bg1"/>
              </a:solidFill>
            </a:endParaRPr>
          </a:p>
        </p:txBody>
      </p:sp>
      <p:sp>
        <p:nvSpPr>
          <p:cNvPr id="23" name="CuadroTexto 22">
            <a:extLst>
              <a:ext uri="{FF2B5EF4-FFF2-40B4-BE49-F238E27FC236}">
                <a16:creationId xmlns:a16="http://schemas.microsoft.com/office/drawing/2014/main" id="{CE1ABE12-D055-413A-B56B-9F3EE799C94F}"/>
              </a:ext>
            </a:extLst>
          </p:cNvPr>
          <p:cNvSpPr txBox="1"/>
          <p:nvPr userDrawn="1"/>
        </p:nvSpPr>
        <p:spPr>
          <a:xfrm>
            <a:off x="-424578" y="3167390"/>
            <a:ext cx="396918" cy="261610"/>
          </a:xfrm>
          <a:prstGeom prst="rect">
            <a:avLst/>
          </a:prstGeom>
          <a:noFill/>
        </p:spPr>
        <p:txBody>
          <a:bodyPr wrap="square" rtlCol="0">
            <a:spAutoFit/>
          </a:bodyPr>
          <a:lstStyle/>
          <a:p>
            <a:pPr algn="ctr"/>
            <a:r>
              <a:rPr lang="es-AR" sz="1100" dirty="0">
                <a:solidFill>
                  <a:schemeClr val="bg1"/>
                </a:solidFill>
              </a:rPr>
              <a:t>1</a:t>
            </a:r>
          </a:p>
        </p:txBody>
      </p:sp>
      <p:sp>
        <p:nvSpPr>
          <p:cNvPr id="24" name="CuadroTexto 23">
            <a:extLst>
              <a:ext uri="{FF2B5EF4-FFF2-40B4-BE49-F238E27FC236}">
                <a16:creationId xmlns:a16="http://schemas.microsoft.com/office/drawing/2014/main" id="{2903E63C-C100-4C71-A52A-7CB913DCF58F}"/>
              </a:ext>
            </a:extLst>
          </p:cNvPr>
          <p:cNvSpPr txBox="1"/>
          <p:nvPr userDrawn="1"/>
        </p:nvSpPr>
        <p:spPr>
          <a:xfrm>
            <a:off x="-424578" y="3491353"/>
            <a:ext cx="396918" cy="261610"/>
          </a:xfrm>
          <a:prstGeom prst="rect">
            <a:avLst/>
          </a:prstGeom>
          <a:noFill/>
        </p:spPr>
        <p:txBody>
          <a:bodyPr wrap="square" rtlCol="0">
            <a:spAutoFit/>
          </a:bodyPr>
          <a:lstStyle/>
          <a:p>
            <a:pPr algn="ctr"/>
            <a:r>
              <a:rPr lang="es-AR" sz="1100" dirty="0">
                <a:solidFill>
                  <a:schemeClr val="bg1"/>
                </a:solidFill>
              </a:rPr>
              <a:t>2</a:t>
            </a:r>
          </a:p>
        </p:txBody>
      </p:sp>
      <p:sp>
        <p:nvSpPr>
          <p:cNvPr id="25" name="CuadroTexto 24">
            <a:extLst>
              <a:ext uri="{FF2B5EF4-FFF2-40B4-BE49-F238E27FC236}">
                <a16:creationId xmlns:a16="http://schemas.microsoft.com/office/drawing/2014/main" id="{6F6FEF59-E63D-409E-B292-820D779A13B5}"/>
              </a:ext>
            </a:extLst>
          </p:cNvPr>
          <p:cNvSpPr txBox="1"/>
          <p:nvPr userDrawn="1"/>
        </p:nvSpPr>
        <p:spPr>
          <a:xfrm>
            <a:off x="-424578" y="3822322"/>
            <a:ext cx="396918" cy="261610"/>
          </a:xfrm>
          <a:prstGeom prst="rect">
            <a:avLst/>
          </a:prstGeom>
          <a:noFill/>
        </p:spPr>
        <p:txBody>
          <a:bodyPr wrap="square" rtlCol="0">
            <a:spAutoFit/>
          </a:bodyPr>
          <a:lstStyle/>
          <a:p>
            <a:pPr algn="ctr"/>
            <a:r>
              <a:rPr lang="es-AR" sz="1100" dirty="0">
                <a:solidFill>
                  <a:schemeClr val="bg1"/>
                </a:solidFill>
              </a:rPr>
              <a:t>3</a:t>
            </a:r>
          </a:p>
        </p:txBody>
      </p:sp>
      <p:sp>
        <p:nvSpPr>
          <p:cNvPr id="26" name="CuadroTexto 25">
            <a:extLst>
              <a:ext uri="{FF2B5EF4-FFF2-40B4-BE49-F238E27FC236}">
                <a16:creationId xmlns:a16="http://schemas.microsoft.com/office/drawing/2014/main" id="{7ED4AB1C-C528-4ACE-9853-060CD5D17854}"/>
              </a:ext>
            </a:extLst>
          </p:cNvPr>
          <p:cNvSpPr txBox="1"/>
          <p:nvPr userDrawn="1"/>
        </p:nvSpPr>
        <p:spPr>
          <a:xfrm>
            <a:off x="-424578" y="4162390"/>
            <a:ext cx="396918" cy="261610"/>
          </a:xfrm>
          <a:prstGeom prst="rect">
            <a:avLst/>
          </a:prstGeom>
          <a:noFill/>
        </p:spPr>
        <p:txBody>
          <a:bodyPr wrap="square" rtlCol="0">
            <a:spAutoFit/>
          </a:bodyPr>
          <a:lstStyle/>
          <a:p>
            <a:pPr algn="ctr"/>
            <a:r>
              <a:rPr lang="es-AR" sz="1100" dirty="0">
                <a:solidFill>
                  <a:schemeClr val="bg1"/>
                </a:solidFill>
              </a:rPr>
              <a:t>4</a:t>
            </a:r>
          </a:p>
        </p:txBody>
      </p:sp>
      <p:sp>
        <p:nvSpPr>
          <p:cNvPr id="27" name="CuadroTexto 26">
            <a:extLst>
              <a:ext uri="{FF2B5EF4-FFF2-40B4-BE49-F238E27FC236}">
                <a16:creationId xmlns:a16="http://schemas.microsoft.com/office/drawing/2014/main" id="{85D15894-7F57-4C7D-AC77-51C862F5B275}"/>
              </a:ext>
            </a:extLst>
          </p:cNvPr>
          <p:cNvSpPr txBox="1"/>
          <p:nvPr userDrawn="1"/>
        </p:nvSpPr>
        <p:spPr>
          <a:xfrm>
            <a:off x="-424578" y="4511579"/>
            <a:ext cx="396918" cy="261610"/>
          </a:xfrm>
          <a:prstGeom prst="rect">
            <a:avLst/>
          </a:prstGeom>
          <a:noFill/>
        </p:spPr>
        <p:txBody>
          <a:bodyPr wrap="square" rtlCol="0">
            <a:spAutoFit/>
          </a:bodyPr>
          <a:lstStyle/>
          <a:p>
            <a:pPr algn="ctr"/>
            <a:r>
              <a:rPr lang="es-AR" sz="1100" dirty="0">
                <a:solidFill>
                  <a:schemeClr val="bg1"/>
                </a:solidFill>
              </a:rPr>
              <a:t>5</a:t>
            </a:r>
          </a:p>
        </p:txBody>
      </p:sp>
      <p:sp>
        <p:nvSpPr>
          <p:cNvPr id="28" name="CuadroTexto 27">
            <a:extLst>
              <a:ext uri="{FF2B5EF4-FFF2-40B4-BE49-F238E27FC236}">
                <a16:creationId xmlns:a16="http://schemas.microsoft.com/office/drawing/2014/main" id="{01C04E9B-E7FE-45D5-9F7C-B7A88FCF81AE}"/>
              </a:ext>
            </a:extLst>
          </p:cNvPr>
          <p:cNvSpPr txBox="1"/>
          <p:nvPr userDrawn="1"/>
        </p:nvSpPr>
        <p:spPr>
          <a:xfrm>
            <a:off x="-424578" y="4842326"/>
            <a:ext cx="396918" cy="261610"/>
          </a:xfrm>
          <a:prstGeom prst="rect">
            <a:avLst/>
          </a:prstGeom>
          <a:noFill/>
        </p:spPr>
        <p:txBody>
          <a:bodyPr wrap="square" rtlCol="0">
            <a:spAutoFit/>
          </a:bodyPr>
          <a:lstStyle/>
          <a:p>
            <a:pPr algn="ctr"/>
            <a:r>
              <a:rPr lang="es-AR" sz="1100" dirty="0">
                <a:solidFill>
                  <a:schemeClr val="bg1"/>
                </a:solidFill>
              </a:rPr>
              <a:t>6</a:t>
            </a:r>
          </a:p>
        </p:txBody>
      </p:sp>
    </p:spTree>
    <p:extLst>
      <p:ext uri="{BB962C8B-B14F-4D97-AF65-F5344CB8AC3E}">
        <p14:creationId xmlns:p14="http://schemas.microsoft.com/office/powerpoint/2010/main" val="1677422827"/>
      </p:ext>
    </p:extLst>
  </p:cSld>
  <p:clrMap bg1="lt1" tx1="dk1" bg2="lt2" tx2="dk2" accent1="accent1" accent2="accent2" accent3="accent3" accent4="accent4" accent5="accent5" accent6="accent6" hlink="hlink" folHlink="folHlink"/>
  <p:sldLayoutIdLst>
    <p:sldLayoutId id="2147483667" r:id="rId1"/>
    <p:sldLayoutId id="2147483707" r:id="rId2"/>
    <p:sldLayoutId id="2147483709" r:id="rId3"/>
    <p:sldLayoutId id="2147483708" r:id="rId4"/>
    <p:sldLayoutId id="2147483712" r:id="rId5"/>
    <p:sldLayoutId id="2147483716" r:id="rId6"/>
    <p:sldLayoutId id="2147483714" r:id="rId7"/>
    <p:sldLayoutId id="2147483710" r:id="rId8"/>
    <p:sldLayoutId id="2147483711" r:id="rId9"/>
    <p:sldLayoutId id="2147483699" r:id="rId10"/>
    <p:sldLayoutId id="2147483691" r:id="rId11"/>
    <p:sldLayoutId id="2147483700" r:id="rId12"/>
    <p:sldLayoutId id="2147483701" r:id="rId13"/>
    <p:sldLayoutId id="2147483706" r:id="rId14"/>
    <p:sldLayoutId id="2147483715" r:id="rId15"/>
  </p:sldLayoutIdLst>
  <p:hf hdr="0" ftr="0"/>
  <p:txStyles>
    <p:titleStyle>
      <a:lvl1pPr algn="l" defTabSz="914400" rtl="0" eaLnBrk="1" latinLnBrk="0" hangingPunct="1">
        <a:lnSpc>
          <a:spcPct val="100000"/>
        </a:lnSpc>
        <a:spcBef>
          <a:spcPct val="0"/>
        </a:spcBef>
        <a:buNone/>
        <a:defRPr lang="en-US" sz="3200" b="1" i="0" kern="1200" dirty="0">
          <a:solidFill>
            <a:schemeClr val="tx1">
              <a:lumMod val="85000"/>
              <a:lumOff val="15000"/>
            </a:schemeClr>
          </a:solidFill>
          <a:latin typeface="+mj-lt"/>
          <a:ea typeface="+mn-ea"/>
          <a:cs typeface="Poppins" pitchFamily="2" charset="77"/>
        </a:defRPr>
      </a:lvl1pPr>
    </p:titleStyle>
    <p:bodyStyle>
      <a:lvl1pPr marL="285750" indent="-28575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a:solidFill>
            <a:schemeClr val="tx1"/>
          </a:solidFill>
          <a:latin typeface="+mn-lt"/>
          <a:ea typeface="Open Sans" panose="020B0606030504020204" pitchFamily="34" charset="0"/>
          <a:cs typeface="Open Sans" panose="020B0606030504020204" pitchFamily="34" charset="0"/>
        </a:defRPr>
      </a:lvl1pPr>
      <a:lvl2pPr marL="6858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2pPr>
      <a:lvl3pPr marL="11430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3pPr>
      <a:lvl4pPr marL="16002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4pPr>
      <a:lvl5pPr marL="2057400" indent="-228600" algn="l" defTabSz="914400" rtl="0" eaLnBrk="1" latinLnBrk="0" hangingPunct="1">
        <a:lnSpc>
          <a:spcPct val="100000"/>
        </a:lnSpc>
        <a:spcBef>
          <a:spcPts val="1200"/>
        </a:spcBef>
        <a:spcAft>
          <a:spcPts val="1200"/>
        </a:spcAft>
        <a:buClr>
          <a:schemeClr val="accent1"/>
        </a:buClr>
        <a:buFont typeface="Arial" panose="020B0604020202020204" pitchFamily="34" charset="0"/>
        <a:buChar char="•"/>
        <a:defRPr lang="en-US" sz="1800" kern="1200" dirty="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59" userDrawn="1">
          <p15:clr>
            <a:srgbClr val="F26B43"/>
          </p15:clr>
        </p15:guide>
        <p15:guide id="2" pos="121" userDrawn="1">
          <p15:clr>
            <a:srgbClr val="F26B43"/>
          </p15:clr>
        </p15:guide>
        <p15:guide id="3" orient="horz" pos="96" userDrawn="1">
          <p15:clr>
            <a:srgbClr val="F26B43"/>
          </p15:clr>
        </p15:guide>
        <p15:guide id="4" orient="horz" pos="3929" userDrawn="1">
          <p15:clr>
            <a:srgbClr val="F26B43"/>
          </p15:clr>
        </p15:guide>
        <p15:guide id="5" orient="horz" pos="822" userDrawn="1">
          <p15:clr>
            <a:srgbClr val="F26B43"/>
          </p15:clr>
        </p15:guide>
        <p15:guide id="6" orient="horz" pos="89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24.xml"/><Relationship Id="rId6" Type="http://schemas.openxmlformats.org/officeDocument/2006/relationships/chart" Target="../charts/chart6.xml"/><Relationship Id="rId5" Type="http://schemas.openxmlformats.org/officeDocument/2006/relationships/image" Target="../media/image13.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25.xml"/><Relationship Id="rId6" Type="http://schemas.openxmlformats.org/officeDocument/2006/relationships/chart" Target="../charts/chart7.xml"/><Relationship Id="rId5" Type="http://schemas.openxmlformats.org/officeDocument/2006/relationships/image" Target="../media/image13.emf"/><Relationship Id="rId4" Type="http://schemas.openxmlformats.org/officeDocument/2006/relationships/oleObject" Target="../embeddings/oleObject1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26.xml"/><Relationship Id="rId6" Type="http://schemas.openxmlformats.org/officeDocument/2006/relationships/chart" Target="../charts/chart8.xml"/><Relationship Id="rId5" Type="http://schemas.openxmlformats.org/officeDocument/2006/relationships/image" Target="../media/image13.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27.xml"/><Relationship Id="rId5" Type="http://schemas.openxmlformats.org/officeDocument/2006/relationships/image" Target="../media/image12.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7.xml"/><Relationship Id="rId5" Type="http://schemas.openxmlformats.org/officeDocument/2006/relationships/image" Target="../media/image12.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18.xml"/><Relationship Id="rId5" Type="http://schemas.openxmlformats.org/officeDocument/2006/relationships/image" Target="../media/image12.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4.xml"/><Relationship Id="rId7" Type="http://schemas.openxmlformats.org/officeDocument/2006/relationships/image" Target="../media/image15.svg"/><Relationship Id="rId2"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7.bin"/><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20.xml"/><Relationship Id="rId5" Type="http://schemas.openxmlformats.org/officeDocument/2006/relationships/image" Target="../media/image12.emf"/><Relationship Id="rId4" Type="http://schemas.openxmlformats.org/officeDocument/2006/relationships/oleObject" Target="../embeddings/oleObject1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1.xml"/><Relationship Id="rId6" Type="http://schemas.openxmlformats.org/officeDocument/2006/relationships/chart" Target="../charts/chart1.xml"/><Relationship Id="rId5" Type="http://schemas.openxmlformats.org/officeDocument/2006/relationships/image" Target="../media/image13.emf"/><Relationship Id="rId4" Type="http://schemas.openxmlformats.org/officeDocument/2006/relationships/oleObject" Target="../embeddings/oleObject1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22.xml"/><Relationship Id="rId6" Type="http://schemas.openxmlformats.org/officeDocument/2006/relationships/chart" Target="../charts/chart2.xml"/><Relationship Id="rId5" Type="http://schemas.openxmlformats.org/officeDocument/2006/relationships/image" Target="../media/image13.emf"/><Relationship Id="rId4" Type="http://schemas.openxmlformats.org/officeDocument/2006/relationships/oleObject" Target="../embeddings/oleObject18.bin"/></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23.xml"/><Relationship Id="rId6" Type="http://schemas.openxmlformats.org/officeDocument/2006/relationships/chart" Target="../charts/chart5.xml"/><Relationship Id="rId5" Type="http://schemas.openxmlformats.org/officeDocument/2006/relationships/image" Target="../media/image13.emf"/><Relationship Id="rId4" Type="http://schemas.openxmlformats.org/officeDocument/2006/relationships/oleObject" Target="../embeddings/oleObject1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5">
            <a:extLst>
              <a:ext uri="{FF2B5EF4-FFF2-40B4-BE49-F238E27FC236}">
                <a16:creationId xmlns:a16="http://schemas.microsoft.com/office/drawing/2014/main" id="{451F3B8A-0C91-46F9-83D1-BD0E48424D64}"/>
              </a:ext>
            </a:extLst>
          </p:cNvPr>
          <p:cNvSpPr>
            <a:spLocks noGrp="1"/>
          </p:cNvSpPr>
          <p:nvPr>
            <p:ph type="body" sz="quarter" idx="11"/>
          </p:nvPr>
        </p:nvSpPr>
        <p:spPr/>
        <p:txBody>
          <a:bodyPr/>
          <a:lstStyle/>
          <a:p>
            <a:endParaRPr lang="en-US"/>
          </a:p>
        </p:txBody>
      </p:sp>
      <p:sp>
        <p:nvSpPr>
          <p:cNvPr id="7" name="Marcador de texto 6">
            <a:extLst>
              <a:ext uri="{FF2B5EF4-FFF2-40B4-BE49-F238E27FC236}">
                <a16:creationId xmlns:a16="http://schemas.microsoft.com/office/drawing/2014/main" id="{9500E1EA-A0DC-4365-BB37-2DFD76121D41}"/>
              </a:ext>
            </a:extLst>
          </p:cNvPr>
          <p:cNvSpPr>
            <a:spLocks noGrp="1"/>
          </p:cNvSpPr>
          <p:nvPr>
            <p:ph type="body" sz="quarter" idx="12"/>
          </p:nvPr>
        </p:nvSpPr>
        <p:spPr>
          <a:xfrm>
            <a:off x="666826" y="2587942"/>
            <a:ext cx="6232738" cy="2122485"/>
          </a:xfrm>
        </p:spPr>
        <p:txBody>
          <a:bodyPr/>
          <a:lstStyle/>
          <a:p>
            <a:r>
              <a:rPr lang="es-ES" sz="1600" b="0" spc="300" dirty="0">
                <a:solidFill>
                  <a:schemeClr val="bg1"/>
                </a:solidFill>
              </a:rPr>
              <a:t>FINANCIAMIENTO DE PROYECTOS DE OIL &amp; GAS</a:t>
            </a:r>
            <a:endParaRPr lang="es-ES" sz="1800" b="0" spc="300" dirty="0">
              <a:solidFill>
                <a:schemeClr val="bg1"/>
              </a:solidFill>
            </a:endParaRPr>
          </a:p>
          <a:p>
            <a:r>
              <a:rPr lang="es-ES" dirty="0"/>
              <a:t>Visión Mundial y </a:t>
            </a:r>
            <a:r>
              <a:rPr lang="es-ES" dirty="0" err="1"/>
              <a:t>Latam</a:t>
            </a:r>
            <a:endParaRPr lang="es-ES" dirty="0"/>
          </a:p>
          <a:p>
            <a:r>
              <a:rPr lang="es-ES" sz="3200" dirty="0">
                <a:solidFill>
                  <a:schemeClr val="bg1"/>
                </a:solidFill>
              </a:rPr>
              <a:t>- Desafíos -</a:t>
            </a:r>
          </a:p>
          <a:p>
            <a:endParaRPr lang="en-US" dirty="0"/>
          </a:p>
        </p:txBody>
      </p:sp>
      <p:sp>
        <p:nvSpPr>
          <p:cNvPr id="3" name="TextBox 2">
            <a:extLst>
              <a:ext uri="{FF2B5EF4-FFF2-40B4-BE49-F238E27FC236}">
                <a16:creationId xmlns:a16="http://schemas.microsoft.com/office/drawing/2014/main" id="{323EB7BF-B714-E100-A435-577DE1A3D640}"/>
              </a:ext>
            </a:extLst>
          </p:cNvPr>
          <p:cNvSpPr txBox="1"/>
          <p:nvPr/>
        </p:nvSpPr>
        <p:spPr>
          <a:xfrm>
            <a:off x="666826" y="4710427"/>
            <a:ext cx="6525490" cy="369332"/>
          </a:xfrm>
          <a:prstGeom prst="rect">
            <a:avLst/>
          </a:prstGeom>
          <a:noFill/>
        </p:spPr>
        <p:txBody>
          <a:bodyPr wrap="square" lIns="0">
            <a:spAutoFit/>
          </a:bodyPr>
          <a:lstStyle/>
          <a:p>
            <a:pPr marL="12700"/>
            <a:r>
              <a:rPr lang="es-ES" spc="300" dirty="0">
                <a:solidFill>
                  <a:schemeClr val="bg1"/>
                </a:solidFill>
              </a:rPr>
              <a:t>SANTIAGO BAUSILI</a:t>
            </a:r>
            <a:endParaRPr lang="es-ES" sz="2000" b="0" spc="300" dirty="0">
              <a:solidFill>
                <a:schemeClr val="bg1"/>
              </a:solidFill>
            </a:endParaRPr>
          </a:p>
        </p:txBody>
      </p:sp>
    </p:spTree>
    <p:extLst>
      <p:ext uri="{BB962C8B-B14F-4D97-AF65-F5344CB8AC3E}">
        <p14:creationId xmlns:p14="http://schemas.microsoft.com/office/powerpoint/2010/main" val="27915109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BFBBED81-356D-264F-9116-9E6DBE664B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BFBBED81-356D-264F-9116-9E6DBE664B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D96FB52F-AA6B-7D41-8998-6E36FA259627}"/>
              </a:ext>
            </a:extLst>
          </p:cNvPr>
          <p:cNvSpPr>
            <a:spLocks noGrp="1"/>
          </p:cNvSpPr>
          <p:nvPr>
            <p:ph type="title"/>
          </p:nvPr>
        </p:nvSpPr>
        <p:spPr/>
        <p:txBody>
          <a:bodyPr vert="horz" anchor="b"/>
          <a:lstStyle/>
          <a:p>
            <a:pPr>
              <a:lnSpc>
                <a:spcPct val="80000"/>
              </a:lnSpc>
            </a:pPr>
            <a:r>
              <a:rPr lang="es-ES" sz="2800" dirty="0"/>
              <a:t>Los volúmenes de emisión de deuda disminuyen</a:t>
            </a:r>
            <a:endParaRPr lang="en-US" sz="2800" dirty="0"/>
          </a:p>
        </p:txBody>
      </p:sp>
      <p:sp>
        <p:nvSpPr>
          <p:cNvPr id="12" name="Marcador de texto 11">
            <a:extLst>
              <a:ext uri="{FF2B5EF4-FFF2-40B4-BE49-F238E27FC236}">
                <a16:creationId xmlns:a16="http://schemas.microsoft.com/office/drawing/2014/main" id="{384A512A-5049-C449-BF74-A05A567A922A}"/>
              </a:ext>
            </a:extLst>
          </p:cNvPr>
          <p:cNvSpPr>
            <a:spLocks noGrp="1"/>
          </p:cNvSpPr>
          <p:nvPr>
            <p:ph type="body" sz="quarter" idx="13"/>
          </p:nvPr>
        </p:nvSpPr>
        <p:spPr/>
        <p:txBody>
          <a:bodyPr/>
          <a:lstStyle/>
          <a:p>
            <a:r>
              <a:rPr lang="en-US" dirty="0"/>
              <a:t>Las </a:t>
            </a:r>
            <a:r>
              <a:rPr lang="en-US" dirty="0" err="1"/>
              <a:t>tasas</a:t>
            </a:r>
            <a:r>
              <a:rPr lang="en-US" dirty="0"/>
              <a:t> de </a:t>
            </a:r>
            <a:r>
              <a:rPr lang="en-US" dirty="0" err="1"/>
              <a:t>interés</a:t>
            </a:r>
            <a:r>
              <a:rPr lang="en-US" dirty="0"/>
              <a:t> </a:t>
            </a:r>
            <a:r>
              <a:rPr lang="en-US" dirty="0" err="1"/>
              <a:t>podrían</a:t>
            </a:r>
            <a:r>
              <a:rPr lang="en-US" dirty="0"/>
              <a:t> </a:t>
            </a:r>
            <a:r>
              <a:rPr lang="en-US" dirty="0" err="1"/>
              <a:t>mantenerse</a:t>
            </a:r>
            <a:r>
              <a:rPr lang="en-US" dirty="0"/>
              <a:t> </a:t>
            </a:r>
            <a:r>
              <a:rPr lang="en-US" dirty="0" err="1"/>
              <a:t>en</a:t>
            </a:r>
            <a:r>
              <a:rPr lang="en-US" dirty="0"/>
              <a:t> </a:t>
            </a:r>
            <a:r>
              <a:rPr lang="en-US" dirty="0" err="1"/>
              <a:t>el</a:t>
            </a:r>
            <a:r>
              <a:rPr lang="en-US" dirty="0"/>
              <a:t> </a:t>
            </a:r>
            <a:r>
              <a:rPr lang="en-US" dirty="0" err="1"/>
              <a:t>margen</a:t>
            </a:r>
            <a:r>
              <a:rPr lang="en-US" dirty="0"/>
              <a:t> superior del </a:t>
            </a:r>
            <a:r>
              <a:rPr lang="en-US" dirty="0" err="1"/>
              <a:t>rango</a:t>
            </a:r>
            <a:r>
              <a:rPr lang="en-US" dirty="0"/>
              <a:t> de </a:t>
            </a:r>
            <a:r>
              <a:rPr lang="en-US" dirty="0" err="1"/>
              <a:t>los</a:t>
            </a:r>
            <a:r>
              <a:rPr lang="en-US" dirty="0"/>
              <a:t> </a:t>
            </a:r>
            <a:r>
              <a:rPr lang="en-US" dirty="0" err="1"/>
              <a:t>últimos</a:t>
            </a:r>
            <a:r>
              <a:rPr lang="en-US" dirty="0"/>
              <a:t> 15 </a:t>
            </a:r>
            <a:r>
              <a:rPr lang="en-US" dirty="0" err="1"/>
              <a:t>años</a:t>
            </a:r>
            <a:endParaRPr lang="en-US" dirty="0"/>
          </a:p>
        </p:txBody>
      </p:sp>
      <p:sp>
        <p:nvSpPr>
          <p:cNvPr id="13" name="Marcador de texto 12">
            <a:extLst>
              <a:ext uri="{FF2B5EF4-FFF2-40B4-BE49-F238E27FC236}">
                <a16:creationId xmlns:a16="http://schemas.microsoft.com/office/drawing/2014/main" id="{4F6EE2C8-F438-DA4B-85E5-50DF325DE3D1}"/>
              </a:ext>
            </a:extLst>
          </p:cNvPr>
          <p:cNvSpPr>
            <a:spLocks noGrp="1"/>
          </p:cNvSpPr>
          <p:nvPr>
            <p:ph type="body" sz="quarter" idx="14"/>
          </p:nvPr>
        </p:nvSpPr>
        <p:spPr>
          <a:solidFill>
            <a:schemeClr val="accent1"/>
          </a:solidFill>
          <a:ln>
            <a:noFill/>
          </a:ln>
        </p:spPr>
        <p:txBody>
          <a:bodyPr/>
          <a:lstStyle/>
          <a:p>
            <a:endParaRPr lang="en-US" dirty="0"/>
          </a:p>
        </p:txBody>
      </p:sp>
      <p:sp>
        <p:nvSpPr>
          <p:cNvPr id="8" name="Marcador de número de diapositiva 7">
            <a:extLst>
              <a:ext uri="{FF2B5EF4-FFF2-40B4-BE49-F238E27FC236}">
                <a16:creationId xmlns:a16="http://schemas.microsoft.com/office/drawing/2014/main" id="{9F114160-19C7-2948-AEC7-4FFE886AFDF4}"/>
              </a:ext>
            </a:extLst>
          </p:cNvPr>
          <p:cNvSpPr>
            <a:spLocks noGrp="1"/>
          </p:cNvSpPr>
          <p:nvPr>
            <p:ph type="sldNum" sz="quarter" idx="17"/>
          </p:nvPr>
        </p:nvSpPr>
        <p:spPr/>
        <p:txBody>
          <a:bodyPr/>
          <a:lstStyle/>
          <a:p>
            <a:fld id="{9F427BA5-3988-40EC-8E11-9F7B5510E66B}" type="slidenum">
              <a:rPr lang="en-GB" smtClean="0"/>
              <a:pPr/>
              <a:t>10</a:t>
            </a:fld>
            <a:endParaRPr lang="en-GB"/>
          </a:p>
        </p:txBody>
      </p:sp>
      <p:sp>
        <p:nvSpPr>
          <p:cNvPr id="14" name="Marcador de texto 13">
            <a:extLst>
              <a:ext uri="{FF2B5EF4-FFF2-40B4-BE49-F238E27FC236}">
                <a16:creationId xmlns:a16="http://schemas.microsoft.com/office/drawing/2014/main" id="{F7B8DD8E-811A-C146-B2A5-0EAF986EE3BA}"/>
              </a:ext>
            </a:extLst>
          </p:cNvPr>
          <p:cNvSpPr>
            <a:spLocks noGrp="1"/>
          </p:cNvSpPr>
          <p:nvPr>
            <p:ph type="body" sz="quarter" idx="18"/>
          </p:nvPr>
        </p:nvSpPr>
        <p:spPr/>
        <p:txBody>
          <a:bodyPr/>
          <a:lstStyle/>
          <a:p>
            <a:endParaRPr lang="en-US" dirty="0"/>
          </a:p>
        </p:txBody>
      </p:sp>
      <p:grpSp>
        <p:nvGrpSpPr>
          <p:cNvPr id="20" name="Grupo 19">
            <a:extLst>
              <a:ext uri="{FF2B5EF4-FFF2-40B4-BE49-F238E27FC236}">
                <a16:creationId xmlns:a16="http://schemas.microsoft.com/office/drawing/2014/main" id="{E9753CB4-B824-42A4-8DF1-BCAA0AE1B130}"/>
              </a:ext>
            </a:extLst>
          </p:cNvPr>
          <p:cNvGrpSpPr/>
          <p:nvPr/>
        </p:nvGrpSpPr>
        <p:grpSpPr>
          <a:xfrm>
            <a:off x="420299" y="1832958"/>
            <a:ext cx="11289920" cy="382764"/>
            <a:chOff x="420299" y="1832958"/>
            <a:chExt cx="2259401" cy="382764"/>
          </a:xfrm>
        </p:grpSpPr>
        <p:cxnSp>
          <p:nvCxnSpPr>
            <p:cNvPr id="23" name="Straight Connector 18">
              <a:extLst>
                <a:ext uri="{FF2B5EF4-FFF2-40B4-BE49-F238E27FC236}">
                  <a16:creationId xmlns:a16="http://schemas.microsoft.com/office/drawing/2014/main" id="{1EBBE70B-4691-4A33-8AC3-1275D647E9CE}"/>
                </a:ext>
              </a:extLst>
            </p:cNvPr>
            <p:cNvCxnSpPr>
              <a:cxnSpLocks/>
            </p:cNvCxnSpPr>
            <p:nvPr/>
          </p:nvCxnSpPr>
          <p:spPr>
            <a:xfrm>
              <a:off x="420299" y="2215722"/>
              <a:ext cx="2259401" cy="0"/>
            </a:xfrm>
            <a:prstGeom prst="line">
              <a:avLst/>
            </a:prstGeom>
            <a:ln w="12700">
              <a:gradFill>
                <a:gsLst>
                  <a:gs pos="0">
                    <a:schemeClr val="accent5"/>
                  </a:gs>
                  <a:gs pos="100000">
                    <a:schemeClr val="accent1"/>
                  </a:gs>
                </a:gsLst>
                <a:lin ang="12000000" scaled="0"/>
              </a:gradFill>
            </a:ln>
          </p:spPr>
          <p:style>
            <a:lnRef idx="1">
              <a:schemeClr val="accent1"/>
            </a:lnRef>
            <a:fillRef idx="0">
              <a:schemeClr val="accent1"/>
            </a:fillRef>
            <a:effectRef idx="0">
              <a:schemeClr val="accent1"/>
            </a:effectRef>
            <a:fontRef idx="minor">
              <a:schemeClr val="tx1"/>
            </a:fontRef>
          </p:style>
        </p:cxnSp>
        <p:sp>
          <p:nvSpPr>
            <p:cNvPr id="24" name="TextBox 3">
              <a:extLst>
                <a:ext uri="{FF2B5EF4-FFF2-40B4-BE49-F238E27FC236}">
                  <a16:creationId xmlns:a16="http://schemas.microsoft.com/office/drawing/2014/main" id="{40E2417D-0566-49FC-BCF5-B1A614C05260}"/>
                </a:ext>
              </a:extLst>
            </p:cNvPr>
            <p:cNvSpPr txBox="1"/>
            <p:nvPr/>
          </p:nvSpPr>
          <p:spPr>
            <a:xfrm>
              <a:off x="420299" y="1832958"/>
              <a:ext cx="2259401" cy="369332"/>
            </a:xfrm>
            <a:prstGeom prst="rect">
              <a:avLst/>
            </a:prstGeom>
            <a:noFill/>
          </p:spPr>
          <p:txBody>
            <a:bodyPr wrap="square" lIns="0" rtlCol="0">
              <a:spAutoFit/>
            </a:bodyPr>
            <a:lstStyle/>
            <a:p>
              <a:r>
                <a:rPr lang="es-ES_tradnl" b="1" dirty="0">
                  <a:solidFill>
                    <a:schemeClr val="accent3"/>
                  </a:solidFill>
                  <a:latin typeface="Poppins" pitchFamily="2" charset="77"/>
                  <a:cs typeface="Poppins" pitchFamily="2" charset="77"/>
                </a:rPr>
                <a:t>Financiamiento bruto en el mercado de capitales</a:t>
              </a:r>
            </a:p>
          </p:txBody>
        </p:sp>
      </p:grpSp>
      <p:graphicFrame>
        <p:nvGraphicFramePr>
          <p:cNvPr id="15" name="Gráfico 13">
            <a:extLst>
              <a:ext uri="{FF2B5EF4-FFF2-40B4-BE49-F238E27FC236}">
                <a16:creationId xmlns:a16="http://schemas.microsoft.com/office/drawing/2014/main" id="{9E6DBCA2-00E9-4845-A6F7-9645275AAC98}"/>
              </a:ext>
            </a:extLst>
          </p:cNvPr>
          <p:cNvGraphicFramePr/>
          <p:nvPr>
            <p:extLst>
              <p:ext uri="{D42A27DB-BD31-4B8C-83A1-F6EECF244321}">
                <p14:modId xmlns:p14="http://schemas.microsoft.com/office/powerpoint/2010/main" val="2196080950"/>
              </p:ext>
            </p:extLst>
          </p:nvPr>
        </p:nvGraphicFramePr>
        <p:xfrm>
          <a:off x="342900" y="2372395"/>
          <a:ext cx="11225098" cy="386489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305355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BFBBED81-356D-264F-9116-9E6DBE664B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BFBBED81-356D-264F-9116-9E6DBE664B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D96FB52F-AA6B-7D41-8998-6E36FA259627}"/>
              </a:ext>
            </a:extLst>
          </p:cNvPr>
          <p:cNvSpPr>
            <a:spLocks noGrp="1"/>
          </p:cNvSpPr>
          <p:nvPr>
            <p:ph type="title"/>
          </p:nvPr>
        </p:nvSpPr>
        <p:spPr/>
        <p:txBody>
          <a:bodyPr vert="horz" anchor="b"/>
          <a:lstStyle/>
          <a:p>
            <a:pPr>
              <a:lnSpc>
                <a:spcPct val="80000"/>
              </a:lnSpc>
            </a:pPr>
            <a:r>
              <a:rPr lang="es-ES" sz="2800" dirty="0"/>
              <a:t>Argentina se recompone y recupera terreno…</a:t>
            </a:r>
            <a:endParaRPr lang="en-US" sz="2800" dirty="0"/>
          </a:p>
        </p:txBody>
      </p:sp>
      <p:sp>
        <p:nvSpPr>
          <p:cNvPr id="12" name="Marcador de texto 11">
            <a:extLst>
              <a:ext uri="{FF2B5EF4-FFF2-40B4-BE49-F238E27FC236}">
                <a16:creationId xmlns:a16="http://schemas.microsoft.com/office/drawing/2014/main" id="{384A512A-5049-C449-BF74-A05A567A922A}"/>
              </a:ext>
            </a:extLst>
          </p:cNvPr>
          <p:cNvSpPr>
            <a:spLocks noGrp="1"/>
          </p:cNvSpPr>
          <p:nvPr>
            <p:ph type="body" sz="quarter" idx="13"/>
          </p:nvPr>
        </p:nvSpPr>
        <p:spPr/>
        <p:txBody>
          <a:bodyPr/>
          <a:lstStyle/>
          <a:p>
            <a:r>
              <a:rPr lang="en-US" dirty="0"/>
              <a:t>Las </a:t>
            </a:r>
            <a:r>
              <a:rPr lang="en-US" dirty="0" err="1"/>
              <a:t>tasas</a:t>
            </a:r>
            <a:r>
              <a:rPr lang="en-US" dirty="0"/>
              <a:t> de </a:t>
            </a:r>
            <a:r>
              <a:rPr lang="en-US" dirty="0" err="1"/>
              <a:t>interés</a:t>
            </a:r>
            <a:r>
              <a:rPr lang="en-US" dirty="0"/>
              <a:t> </a:t>
            </a:r>
            <a:r>
              <a:rPr lang="en-US" dirty="0" err="1"/>
              <a:t>podrían</a:t>
            </a:r>
            <a:r>
              <a:rPr lang="en-US" dirty="0"/>
              <a:t> </a:t>
            </a:r>
            <a:r>
              <a:rPr lang="en-US" dirty="0" err="1"/>
              <a:t>mantenerse</a:t>
            </a:r>
            <a:r>
              <a:rPr lang="en-US" dirty="0"/>
              <a:t> </a:t>
            </a:r>
            <a:r>
              <a:rPr lang="en-US" dirty="0" err="1"/>
              <a:t>en</a:t>
            </a:r>
            <a:r>
              <a:rPr lang="en-US" dirty="0"/>
              <a:t> </a:t>
            </a:r>
            <a:r>
              <a:rPr lang="en-US" dirty="0" err="1"/>
              <a:t>el</a:t>
            </a:r>
            <a:r>
              <a:rPr lang="en-US" dirty="0"/>
              <a:t> </a:t>
            </a:r>
            <a:r>
              <a:rPr lang="en-US" dirty="0" err="1"/>
              <a:t>margen</a:t>
            </a:r>
            <a:r>
              <a:rPr lang="en-US" dirty="0"/>
              <a:t> superior del </a:t>
            </a:r>
            <a:r>
              <a:rPr lang="en-US" dirty="0" err="1"/>
              <a:t>rango</a:t>
            </a:r>
            <a:r>
              <a:rPr lang="en-US" dirty="0"/>
              <a:t> de </a:t>
            </a:r>
            <a:r>
              <a:rPr lang="en-US" dirty="0" err="1"/>
              <a:t>los</a:t>
            </a:r>
            <a:r>
              <a:rPr lang="en-US" dirty="0"/>
              <a:t> </a:t>
            </a:r>
            <a:r>
              <a:rPr lang="en-US" dirty="0" err="1"/>
              <a:t>últimos</a:t>
            </a:r>
            <a:r>
              <a:rPr lang="en-US" dirty="0"/>
              <a:t> 15 </a:t>
            </a:r>
            <a:r>
              <a:rPr lang="en-US" dirty="0" err="1"/>
              <a:t>años</a:t>
            </a:r>
            <a:endParaRPr lang="en-US" dirty="0"/>
          </a:p>
        </p:txBody>
      </p:sp>
      <p:sp>
        <p:nvSpPr>
          <p:cNvPr id="13" name="Marcador de texto 12">
            <a:extLst>
              <a:ext uri="{FF2B5EF4-FFF2-40B4-BE49-F238E27FC236}">
                <a16:creationId xmlns:a16="http://schemas.microsoft.com/office/drawing/2014/main" id="{4F6EE2C8-F438-DA4B-85E5-50DF325DE3D1}"/>
              </a:ext>
            </a:extLst>
          </p:cNvPr>
          <p:cNvSpPr>
            <a:spLocks noGrp="1"/>
          </p:cNvSpPr>
          <p:nvPr>
            <p:ph type="body" sz="quarter" idx="14"/>
          </p:nvPr>
        </p:nvSpPr>
        <p:spPr>
          <a:solidFill>
            <a:schemeClr val="accent1"/>
          </a:solidFill>
          <a:ln>
            <a:noFill/>
          </a:ln>
        </p:spPr>
        <p:txBody>
          <a:bodyPr/>
          <a:lstStyle/>
          <a:p>
            <a:endParaRPr lang="en-US" dirty="0"/>
          </a:p>
        </p:txBody>
      </p:sp>
      <p:sp>
        <p:nvSpPr>
          <p:cNvPr id="8" name="Marcador de número de diapositiva 7">
            <a:extLst>
              <a:ext uri="{FF2B5EF4-FFF2-40B4-BE49-F238E27FC236}">
                <a16:creationId xmlns:a16="http://schemas.microsoft.com/office/drawing/2014/main" id="{9F114160-19C7-2948-AEC7-4FFE886AFDF4}"/>
              </a:ext>
            </a:extLst>
          </p:cNvPr>
          <p:cNvSpPr>
            <a:spLocks noGrp="1"/>
          </p:cNvSpPr>
          <p:nvPr>
            <p:ph type="sldNum" sz="quarter" idx="17"/>
          </p:nvPr>
        </p:nvSpPr>
        <p:spPr/>
        <p:txBody>
          <a:bodyPr/>
          <a:lstStyle/>
          <a:p>
            <a:fld id="{9F427BA5-3988-40EC-8E11-9F7B5510E66B}" type="slidenum">
              <a:rPr lang="en-GB" smtClean="0"/>
              <a:pPr/>
              <a:t>11</a:t>
            </a:fld>
            <a:endParaRPr lang="en-GB"/>
          </a:p>
        </p:txBody>
      </p:sp>
      <p:sp>
        <p:nvSpPr>
          <p:cNvPr id="14" name="Marcador de texto 13">
            <a:extLst>
              <a:ext uri="{FF2B5EF4-FFF2-40B4-BE49-F238E27FC236}">
                <a16:creationId xmlns:a16="http://schemas.microsoft.com/office/drawing/2014/main" id="{F7B8DD8E-811A-C146-B2A5-0EAF986EE3BA}"/>
              </a:ext>
            </a:extLst>
          </p:cNvPr>
          <p:cNvSpPr>
            <a:spLocks noGrp="1"/>
          </p:cNvSpPr>
          <p:nvPr>
            <p:ph type="body" sz="quarter" idx="18"/>
          </p:nvPr>
        </p:nvSpPr>
        <p:spPr/>
        <p:txBody>
          <a:bodyPr/>
          <a:lstStyle/>
          <a:p>
            <a:endParaRPr lang="en-US" dirty="0"/>
          </a:p>
        </p:txBody>
      </p:sp>
      <p:grpSp>
        <p:nvGrpSpPr>
          <p:cNvPr id="20" name="Grupo 19">
            <a:extLst>
              <a:ext uri="{FF2B5EF4-FFF2-40B4-BE49-F238E27FC236}">
                <a16:creationId xmlns:a16="http://schemas.microsoft.com/office/drawing/2014/main" id="{E9753CB4-B824-42A4-8DF1-BCAA0AE1B130}"/>
              </a:ext>
            </a:extLst>
          </p:cNvPr>
          <p:cNvGrpSpPr/>
          <p:nvPr/>
        </p:nvGrpSpPr>
        <p:grpSpPr>
          <a:xfrm>
            <a:off x="420299" y="1832958"/>
            <a:ext cx="11289920" cy="382764"/>
            <a:chOff x="420299" y="1832958"/>
            <a:chExt cx="2259401" cy="382764"/>
          </a:xfrm>
        </p:grpSpPr>
        <p:cxnSp>
          <p:nvCxnSpPr>
            <p:cNvPr id="23" name="Straight Connector 18">
              <a:extLst>
                <a:ext uri="{FF2B5EF4-FFF2-40B4-BE49-F238E27FC236}">
                  <a16:creationId xmlns:a16="http://schemas.microsoft.com/office/drawing/2014/main" id="{1EBBE70B-4691-4A33-8AC3-1275D647E9CE}"/>
                </a:ext>
              </a:extLst>
            </p:cNvPr>
            <p:cNvCxnSpPr>
              <a:cxnSpLocks/>
            </p:cNvCxnSpPr>
            <p:nvPr/>
          </p:nvCxnSpPr>
          <p:spPr>
            <a:xfrm>
              <a:off x="420299" y="2215722"/>
              <a:ext cx="2259401" cy="0"/>
            </a:xfrm>
            <a:prstGeom prst="line">
              <a:avLst/>
            </a:prstGeom>
            <a:ln w="12700">
              <a:gradFill>
                <a:gsLst>
                  <a:gs pos="0">
                    <a:schemeClr val="accent5"/>
                  </a:gs>
                  <a:gs pos="100000">
                    <a:schemeClr val="accent1"/>
                  </a:gs>
                </a:gsLst>
                <a:lin ang="12000000" scaled="0"/>
              </a:gradFill>
            </a:ln>
          </p:spPr>
          <p:style>
            <a:lnRef idx="1">
              <a:schemeClr val="accent1"/>
            </a:lnRef>
            <a:fillRef idx="0">
              <a:schemeClr val="accent1"/>
            </a:fillRef>
            <a:effectRef idx="0">
              <a:schemeClr val="accent1"/>
            </a:effectRef>
            <a:fontRef idx="minor">
              <a:schemeClr val="tx1"/>
            </a:fontRef>
          </p:style>
        </p:cxnSp>
        <p:sp>
          <p:nvSpPr>
            <p:cNvPr id="24" name="TextBox 3">
              <a:extLst>
                <a:ext uri="{FF2B5EF4-FFF2-40B4-BE49-F238E27FC236}">
                  <a16:creationId xmlns:a16="http://schemas.microsoft.com/office/drawing/2014/main" id="{40E2417D-0566-49FC-BCF5-B1A614C05260}"/>
                </a:ext>
              </a:extLst>
            </p:cNvPr>
            <p:cNvSpPr txBox="1"/>
            <p:nvPr/>
          </p:nvSpPr>
          <p:spPr>
            <a:xfrm>
              <a:off x="420299" y="1832958"/>
              <a:ext cx="2259401" cy="369332"/>
            </a:xfrm>
            <a:prstGeom prst="rect">
              <a:avLst/>
            </a:prstGeom>
            <a:noFill/>
          </p:spPr>
          <p:txBody>
            <a:bodyPr wrap="square" lIns="0" rtlCol="0">
              <a:spAutoFit/>
            </a:bodyPr>
            <a:lstStyle/>
            <a:p>
              <a:r>
                <a:rPr lang="es-ES_tradnl" b="1" dirty="0">
                  <a:solidFill>
                    <a:schemeClr val="accent3"/>
                  </a:solidFill>
                  <a:latin typeface="Poppins" pitchFamily="2" charset="77"/>
                  <a:cs typeface="Poppins" pitchFamily="2" charset="77"/>
                </a:rPr>
                <a:t>YPF logra aproximarse a comparables de la región</a:t>
              </a:r>
            </a:p>
          </p:txBody>
        </p:sp>
      </p:grpSp>
      <p:graphicFrame>
        <p:nvGraphicFramePr>
          <p:cNvPr id="15" name="Gráfico 13">
            <a:extLst>
              <a:ext uri="{FF2B5EF4-FFF2-40B4-BE49-F238E27FC236}">
                <a16:creationId xmlns:a16="http://schemas.microsoft.com/office/drawing/2014/main" id="{9E6DBCA2-00E9-4845-A6F7-9645275AAC98}"/>
              </a:ext>
            </a:extLst>
          </p:cNvPr>
          <p:cNvGraphicFramePr/>
          <p:nvPr>
            <p:extLst>
              <p:ext uri="{D42A27DB-BD31-4B8C-83A1-F6EECF244321}">
                <p14:modId xmlns:p14="http://schemas.microsoft.com/office/powerpoint/2010/main" val="4248487009"/>
              </p:ext>
            </p:extLst>
          </p:nvPr>
        </p:nvGraphicFramePr>
        <p:xfrm>
          <a:off x="342900" y="2372395"/>
          <a:ext cx="11225098" cy="3864891"/>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380A3164-0D18-E8FF-EA39-75FA2FD7E1D4}"/>
              </a:ext>
            </a:extLst>
          </p:cNvPr>
          <p:cNvSpPr txBox="1"/>
          <p:nvPr/>
        </p:nvSpPr>
        <p:spPr>
          <a:xfrm>
            <a:off x="7481443" y="2944483"/>
            <a:ext cx="933269" cy="369332"/>
          </a:xfrm>
          <a:prstGeom prst="rect">
            <a:avLst/>
          </a:prstGeom>
          <a:noFill/>
        </p:spPr>
        <p:txBody>
          <a:bodyPr wrap="none" rtlCol="0">
            <a:spAutoFit/>
          </a:bodyPr>
          <a:lstStyle/>
          <a:p>
            <a:r>
              <a:rPr lang="en-US" dirty="0">
                <a:solidFill>
                  <a:schemeClr val="tx2"/>
                </a:solidFill>
              </a:rPr>
              <a:t>YPF ‘29</a:t>
            </a:r>
          </a:p>
        </p:txBody>
      </p:sp>
      <p:sp>
        <p:nvSpPr>
          <p:cNvPr id="4" name="TextBox 3">
            <a:extLst>
              <a:ext uri="{FF2B5EF4-FFF2-40B4-BE49-F238E27FC236}">
                <a16:creationId xmlns:a16="http://schemas.microsoft.com/office/drawing/2014/main" id="{69DA723F-D68B-47C8-8C8E-6913D70A485E}"/>
              </a:ext>
            </a:extLst>
          </p:cNvPr>
          <p:cNvSpPr txBox="1"/>
          <p:nvPr/>
        </p:nvSpPr>
        <p:spPr>
          <a:xfrm>
            <a:off x="6601778" y="5044559"/>
            <a:ext cx="1274901" cy="369332"/>
          </a:xfrm>
          <a:prstGeom prst="rect">
            <a:avLst/>
          </a:prstGeom>
          <a:noFill/>
        </p:spPr>
        <p:txBody>
          <a:bodyPr wrap="none" rtlCol="0">
            <a:spAutoFit/>
          </a:bodyPr>
          <a:lstStyle/>
          <a:p>
            <a:r>
              <a:rPr lang="en-US" dirty="0">
                <a:solidFill>
                  <a:schemeClr val="accent2"/>
                </a:solidFill>
              </a:rPr>
              <a:t>Pemex ‘31</a:t>
            </a:r>
          </a:p>
        </p:txBody>
      </p:sp>
    </p:spTree>
    <p:extLst>
      <p:ext uri="{BB962C8B-B14F-4D97-AF65-F5344CB8AC3E}">
        <p14:creationId xmlns:p14="http://schemas.microsoft.com/office/powerpoint/2010/main" val="25909394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BFBBED81-356D-264F-9116-9E6DBE664B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BFBBED81-356D-264F-9116-9E6DBE664B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D96FB52F-AA6B-7D41-8998-6E36FA259627}"/>
              </a:ext>
            </a:extLst>
          </p:cNvPr>
          <p:cNvSpPr>
            <a:spLocks noGrp="1"/>
          </p:cNvSpPr>
          <p:nvPr>
            <p:ph type="title"/>
          </p:nvPr>
        </p:nvSpPr>
        <p:spPr/>
        <p:txBody>
          <a:bodyPr vert="horz" anchor="b"/>
          <a:lstStyle/>
          <a:p>
            <a:pPr>
              <a:lnSpc>
                <a:spcPct val="80000"/>
              </a:lnSpc>
            </a:pPr>
            <a:r>
              <a:rPr lang="es-ES" dirty="0"/>
              <a:t>…pero aún queda terreno para recorrer</a:t>
            </a:r>
            <a:endParaRPr lang="en-US" sz="2800" dirty="0"/>
          </a:p>
        </p:txBody>
      </p:sp>
      <p:sp>
        <p:nvSpPr>
          <p:cNvPr id="12" name="Marcador de texto 11">
            <a:extLst>
              <a:ext uri="{FF2B5EF4-FFF2-40B4-BE49-F238E27FC236}">
                <a16:creationId xmlns:a16="http://schemas.microsoft.com/office/drawing/2014/main" id="{384A512A-5049-C449-BF74-A05A567A922A}"/>
              </a:ext>
            </a:extLst>
          </p:cNvPr>
          <p:cNvSpPr>
            <a:spLocks noGrp="1"/>
          </p:cNvSpPr>
          <p:nvPr>
            <p:ph type="body" sz="quarter" idx="13"/>
          </p:nvPr>
        </p:nvSpPr>
        <p:spPr/>
        <p:txBody>
          <a:bodyPr/>
          <a:lstStyle/>
          <a:p>
            <a:r>
              <a:rPr lang="en-US" dirty="0"/>
              <a:t>Las </a:t>
            </a:r>
            <a:r>
              <a:rPr lang="en-US" dirty="0" err="1"/>
              <a:t>tasas</a:t>
            </a:r>
            <a:r>
              <a:rPr lang="en-US" dirty="0"/>
              <a:t> de </a:t>
            </a:r>
            <a:r>
              <a:rPr lang="en-US" dirty="0" err="1"/>
              <a:t>interés</a:t>
            </a:r>
            <a:r>
              <a:rPr lang="en-US" dirty="0"/>
              <a:t> </a:t>
            </a:r>
            <a:r>
              <a:rPr lang="en-US" dirty="0" err="1"/>
              <a:t>podrían</a:t>
            </a:r>
            <a:r>
              <a:rPr lang="en-US" dirty="0"/>
              <a:t> </a:t>
            </a:r>
            <a:r>
              <a:rPr lang="en-US" dirty="0" err="1"/>
              <a:t>mantenerse</a:t>
            </a:r>
            <a:r>
              <a:rPr lang="en-US" dirty="0"/>
              <a:t> </a:t>
            </a:r>
            <a:r>
              <a:rPr lang="en-US" dirty="0" err="1"/>
              <a:t>en</a:t>
            </a:r>
            <a:r>
              <a:rPr lang="en-US" dirty="0"/>
              <a:t> </a:t>
            </a:r>
            <a:r>
              <a:rPr lang="en-US" dirty="0" err="1"/>
              <a:t>el</a:t>
            </a:r>
            <a:r>
              <a:rPr lang="en-US" dirty="0"/>
              <a:t> </a:t>
            </a:r>
            <a:r>
              <a:rPr lang="en-US" dirty="0" err="1"/>
              <a:t>margen</a:t>
            </a:r>
            <a:r>
              <a:rPr lang="en-US" dirty="0"/>
              <a:t> superior del </a:t>
            </a:r>
            <a:r>
              <a:rPr lang="en-US" dirty="0" err="1"/>
              <a:t>rango</a:t>
            </a:r>
            <a:r>
              <a:rPr lang="en-US" dirty="0"/>
              <a:t> de </a:t>
            </a:r>
            <a:r>
              <a:rPr lang="en-US" dirty="0" err="1"/>
              <a:t>los</a:t>
            </a:r>
            <a:r>
              <a:rPr lang="en-US" dirty="0"/>
              <a:t> </a:t>
            </a:r>
            <a:r>
              <a:rPr lang="en-US" dirty="0" err="1"/>
              <a:t>últimos</a:t>
            </a:r>
            <a:r>
              <a:rPr lang="en-US" dirty="0"/>
              <a:t> 15 </a:t>
            </a:r>
            <a:r>
              <a:rPr lang="en-US" dirty="0" err="1"/>
              <a:t>años</a:t>
            </a:r>
            <a:endParaRPr lang="en-US" dirty="0"/>
          </a:p>
        </p:txBody>
      </p:sp>
      <p:sp>
        <p:nvSpPr>
          <p:cNvPr id="13" name="Marcador de texto 12">
            <a:extLst>
              <a:ext uri="{FF2B5EF4-FFF2-40B4-BE49-F238E27FC236}">
                <a16:creationId xmlns:a16="http://schemas.microsoft.com/office/drawing/2014/main" id="{4F6EE2C8-F438-DA4B-85E5-50DF325DE3D1}"/>
              </a:ext>
            </a:extLst>
          </p:cNvPr>
          <p:cNvSpPr>
            <a:spLocks noGrp="1"/>
          </p:cNvSpPr>
          <p:nvPr>
            <p:ph type="body" sz="quarter" idx="14"/>
          </p:nvPr>
        </p:nvSpPr>
        <p:spPr>
          <a:solidFill>
            <a:schemeClr val="accent1"/>
          </a:solidFill>
          <a:ln>
            <a:noFill/>
          </a:ln>
        </p:spPr>
        <p:txBody>
          <a:bodyPr/>
          <a:lstStyle/>
          <a:p>
            <a:endParaRPr lang="en-US" dirty="0"/>
          </a:p>
        </p:txBody>
      </p:sp>
      <p:sp>
        <p:nvSpPr>
          <p:cNvPr id="8" name="Marcador de número de diapositiva 7">
            <a:extLst>
              <a:ext uri="{FF2B5EF4-FFF2-40B4-BE49-F238E27FC236}">
                <a16:creationId xmlns:a16="http://schemas.microsoft.com/office/drawing/2014/main" id="{9F114160-19C7-2948-AEC7-4FFE886AFDF4}"/>
              </a:ext>
            </a:extLst>
          </p:cNvPr>
          <p:cNvSpPr>
            <a:spLocks noGrp="1"/>
          </p:cNvSpPr>
          <p:nvPr>
            <p:ph type="sldNum" sz="quarter" idx="17"/>
          </p:nvPr>
        </p:nvSpPr>
        <p:spPr/>
        <p:txBody>
          <a:bodyPr/>
          <a:lstStyle/>
          <a:p>
            <a:fld id="{9F427BA5-3988-40EC-8E11-9F7B5510E66B}" type="slidenum">
              <a:rPr lang="en-GB" smtClean="0"/>
              <a:pPr/>
              <a:t>12</a:t>
            </a:fld>
            <a:endParaRPr lang="en-GB"/>
          </a:p>
        </p:txBody>
      </p:sp>
      <p:sp>
        <p:nvSpPr>
          <p:cNvPr id="14" name="Marcador de texto 13">
            <a:extLst>
              <a:ext uri="{FF2B5EF4-FFF2-40B4-BE49-F238E27FC236}">
                <a16:creationId xmlns:a16="http://schemas.microsoft.com/office/drawing/2014/main" id="{F7B8DD8E-811A-C146-B2A5-0EAF986EE3BA}"/>
              </a:ext>
            </a:extLst>
          </p:cNvPr>
          <p:cNvSpPr>
            <a:spLocks noGrp="1"/>
          </p:cNvSpPr>
          <p:nvPr>
            <p:ph type="body" sz="quarter" idx="18"/>
          </p:nvPr>
        </p:nvSpPr>
        <p:spPr/>
        <p:txBody>
          <a:bodyPr/>
          <a:lstStyle/>
          <a:p>
            <a:endParaRPr lang="en-US" dirty="0"/>
          </a:p>
        </p:txBody>
      </p:sp>
      <p:grpSp>
        <p:nvGrpSpPr>
          <p:cNvPr id="20" name="Grupo 19">
            <a:extLst>
              <a:ext uri="{FF2B5EF4-FFF2-40B4-BE49-F238E27FC236}">
                <a16:creationId xmlns:a16="http://schemas.microsoft.com/office/drawing/2014/main" id="{E9753CB4-B824-42A4-8DF1-BCAA0AE1B130}"/>
              </a:ext>
            </a:extLst>
          </p:cNvPr>
          <p:cNvGrpSpPr/>
          <p:nvPr/>
        </p:nvGrpSpPr>
        <p:grpSpPr>
          <a:xfrm>
            <a:off x="420299" y="1832958"/>
            <a:ext cx="11289920" cy="382764"/>
            <a:chOff x="420299" y="1832958"/>
            <a:chExt cx="2259401" cy="382764"/>
          </a:xfrm>
        </p:grpSpPr>
        <p:cxnSp>
          <p:nvCxnSpPr>
            <p:cNvPr id="23" name="Straight Connector 18">
              <a:extLst>
                <a:ext uri="{FF2B5EF4-FFF2-40B4-BE49-F238E27FC236}">
                  <a16:creationId xmlns:a16="http://schemas.microsoft.com/office/drawing/2014/main" id="{1EBBE70B-4691-4A33-8AC3-1275D647E9CE}"/>
                </a:ext>
              </a:extLst>
            </p:cNvPr>
            <p:cNvCxnSpPr>
              <a:cxnSpLocks/>
            </p:cNvCxnSpPr>
            <p:nvPr/>
          </p:nvCxnSpPr>
          <p:spPr>
            <a:xfrm>
              <a:off x="420299" y="2215722"/>
              <a:ext cx="2259401" cy="0"/>
            </a:xfrm>
            <a:prstGeom prst="line">
              <a:avLst/>
            </a:prstGeom>
            <a:ln w="12700">
              <a:gradFill>
                <a:gsLst>
                  <a:gs pos="0">
                    <a:schemeClr val="accent5"/>
                  </a:gs>
                  <a:gs pos="100000">
                    <a:schemeClr val="accent1"/>
                  </a:gs>
                </a:gsLst>
                <a:lin ang="12000000" scaled="0"/>
              </a:gradFill>
            </a:ln>
          </p:spPr>
          <p:style>
            <a:lnRef idx="1">
              <a:schemeClr val="accent1"/>
            </a:lnRef>
            <a:fillRef idx="0">
              <a:schemeClr val="accent1"/>
            </a:fillRef>
            <a:effectRef idx="0">
              <a:schemeClr val="accent1"/>
            </a:effectRef>
            <a:fontRef idx="minor">
              <a:schemeClr val="tx1"/>
            </a:fontRef>
          </p:style>
        </p:cxnSp>
        <p:sp>
          <p:nvSpPr>
            <p:cNvPr id="24" name="TextBox 3">
              <a:extLst>
                <a:ext uri="{FF2B5EF4-FFF2-40B4-BE49-F238E27FC236}">
                  <a16:creationId xmlns:a16="http://schemas.microsoft.com/office/drawing/2014/main" id="{40E2417D-0566-49FC-BCF5-B1A614C05260}"/>
                </a:ext>
              </a:extLst>
            </p:cNvPr>
            <p:cNvSpPr txBox="1"/>
            <p:nvPr/>
          </p:nvSpPr>
          <p:spPr>
            <a:xfrm>
              <a:off x="420299" y="1832958"/>
              <a:ext cx="2259401" cy="369332"/>
            </a:xfrm>
            <a:prstGeom prst="rect">
              <a:avLst/>
            </a:prstGeom>
            <a:noFill/>
          </p:spPr>
          <p:txBody>
            <a:bodyPr wrap="square" lIns="0" rtlCol="0">
              <a:spAutoFit/>
            </a:bodyPr>
            <a:lstStyle/>
            <a:p>
              <a:r>
                <a:rPr lang="es-ES_tradnl" b="1" dirty="0">
                  <a:solidFill>
                    <a:schemeClr val="accent3"/>
                  </a:solidFill>
                  <a:latin typeface="Poppins" pitchFamily="2" charset="77"/>
                  <a:cs typeface="Poppins" pitchFamily="2" charset="77"/>
                </a:rPr>
                <a:t>YPF no logra niveles de acceso a financiamiento aún</a:t>
              </a:r>
            </a:p>
          </p:txBody>
        </p:sp>
      </p:grpSp>
      <p:graphicFrame>
        <p:nvGraphicFramePr>
          <p:cNvPr id="15" name="Gráfico 13">
            <a:extLst>
              <a:ext uri="{FF2B5EF4-FFF2-40B4-BE49-F238E27FC236}">
                <a16:creationId xmlns:a16="http://schemas.microsoft.com/office/drawing/2014/main" id="{9E6DBCA2-00E9-4845-A6F7-9645275AAC98}"/>
              </a:ext>
            </a:extLst>
          </p:cNvPr>
          <p:cNvGraphicFramePr/>
          <p:nvPr>
            <p:extLst>
              <p:ext uri="{D42A27DB-BD31-4B8C-83A1-F6EECF244321}">
                <p14:modId xmlns:p14="http://schemas.microsoft.com/office/powerpoint/2010/main" val="2169239791"/>
              </p:ext>
            </p:extLst>
          </p:nvPr>
        </p:nvGraphicFramePr>
        <p:xfrm>
          <a:off x="342900" y="2372395"/>
          <a:ext cx="11225098" cy="3864891"/>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380A3164-0D18-E8FF-EA39-75FA2FD7E1D4}"/>
              </a:ext>
            </a:extLst>
          </p:cNvPr>
          <p:cNvSpPr txBox="1"/>
          <p:nvPr/>
        </p:nvSpPr>
        <p:spPr>
          <a:xfrm>
            <a:off x="7481443" y="2944483"/>
            <a:ext cx="933269" cy="369332"/>
          </a:xfrm>
          <a:prstGeom prst="rect">
            <a:avLst/>
          </a:prstGeom>
          <a:noFill/>
        </p:spPr>
        <p:txBody>
          <a:bodyPr wrap="none" rtlCol="0">
            <a:spAutoFit/>
          </a:bodyPr>
          <a:lstStyle/>
          <a:p>
            <a:r>
              <a:rPr lang="en-US" dirty="0">
                <a:solidFill>
                  <a:schemeClr val="tx2"/>
                </a:solidFill>
              </a:rPr>
              <a:t>YPF ‘29</a:t>
            </a:r>
          </a:p>
        </p:txBody>
      </p:sp>
      <p:sp>
        <p:nvSpPr>
          <p:cNvPr id="4" name="TextBox 3">
            <a:extLst>
              <a:ext uri="{FF2B5EF4-FFF2-40B4-BE49-F238E27FC236}">
                <a16:creationId xmlns:a16="http://schemas.microsoft.com/office/drawing/2014/main" id="{69DA723F-D68B-47C8-8C8E-6913D70A485E}"/>
              </a:ext>
            </a:extLst>
          </p:cNvPr>
          <p:cNvSpPr txBox="1"/>
          <p:nvPr/>
        </p:nvSpPr>
        <p:spPr>
          <a:xfrm>
            <a:off x="6819019" y="4762911"/>
            <a:ext cx="1595693" cy="369332"/>
          </a:xfrm>
          <a:prstGeom prst="rect">
            <a:avLst/>
          </a:prstGeom>
          <a:noFill/>
        </p:spPr>
        <p:txBody>
          <a:bodyPr wrap="none" rtlCol="0">
            <a:spAutoFit/>
          </a:bodyPr>
          <a:lstStyle/>
          <a:p>
            <a:r>
              <a:rPr lang="en-US" dirty="0">
                <a:solidFill>
                  <a:schemeClr val="accent2"/>
                </a:solidFill>
              </a:rPr>
              <a:t>Petrobras ‘31</a:t>
            </a:r>
          </a:p>
        </p:txBody>
      </p:sp>
    </p:spTree>
    <p:extLst>
      <p:ext uri="{BB962C8B-B14F-4D97-AF65-F5344CB8AC3E}">
        <p14:creationId xmlns:p14="http://schemas.microsoft.com/office/powerpoint/2010/main" val="40465743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148FC477-C1E4-2B49-80AE-AAB109731EBE}"/>
              </a:ext>
            </a:extLst>
          </p:cNvPr>
          <p:cNvSpPr/>
          <p:nvPr/>
        </p:nvSpPr>
        <p:spPr>
          <a:xfrm>
            <a:off x="192088" y="1628774"/>
            <a:ext cx="11807822" cy="4593561"/>
          </a:xfrm>
          <a:prstGeom prst="rect">
            <a:avLst/>
          </a:prstGeom>
          <a:gradFill>
            <a:gsLst>
              <a:gs pos="8000">
                <a:schemeClr val="accent1"/>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aphicFrame>
        <p:nvGraphicFramePr>
          <p:cNvPr id="10" name="Objeto 9" hidden="1">
            <a:extLst>
              <a:ext uri="{FF2B5EF4-FFF2-40B4-BE49-F238E27FC236}">
                <a16:creationId xmlns:a16="http://schemas.microsoft.com/office/drawing/2014/main" id="{228B1E59-B60B-774E-BCB6-A8C4225CFF2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228B1E59-B60B-774E-BCB6-A8C4225CFF2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ítulo 7">
            <a:extLst>
              <a:ext uri="{FF2B5EF4-FFF2-40B4-BE49-F238E27FC236}">
                <a16:creationId xmlns:a16="http://schemas.microsoft.com/office/drawing/2014/main" id="{7F437131-6244-4D4F-991F-C3E8BA0448B0}"/>
              </a:ext>
            </a:extLst>
          </p:cNvPr>
          <p:cNvSpPr>
            <a:spLocks noGrp="1"/>
          </p:cNvSpPr>
          <p:nvPr>
            <p:ph type="title"/>
          </p:nvPr>
        </p:nvSpPr>
        <p:spPr/>
        <p:txBody>
          <a:bodyPr vert="horz"/>
          <a:lstStyle/>
          <a:p>
            <a:r>
              <a:rPr lang="es-ES_tradnl" dirty="0"/>
              <a:t>Conclusiones</a:t>
            </a:r>
          </a:p>
        </p:txBody>
      </p:sp>
      <p:sp>
        <p:nvSpPr>
          <p:cNvPr id="17" name="Marcador de texto 16">
            <a:extLst>
              <a:ext uri="{FF2B5EF4-FFF2-40B4-BE49-F238E27FC236}">
                <a16:creationId xmlns:a16="http://schemas.microsoft.com/office/drawing/2014/main" id="{B2122F96-4D73-C243-80F0-E4809824C606}"/>
              </a:ext>
            </a:extLst>
          </p:cNvPr>
          <p:cNvSpPr>
            <a:spLocks noGrp="1"/>
          </p:cNvSpPr>
          <p:nvPr>
            <p:ph type="body" sz="quarter" idx="13"/>
          </p:nvPr>
        </p:nvSpPr>
        <p:spPr/>
        <p:txBody>
          <a:bodyPr/>
          <a:lstStyle/>
          <a:p>
            <a:r>
              <a:rPr lang="es-ES_tradnl" dirty="0"/>
              <a:t>Un cambio en el paradigma financiero de la industria de petróleo y gas</a:t>
            </a:r>
          </a:p>
        </p:txBody>
      </p:sp>
      <p:sp>
        <p:nvSpPr>
          <p:cNvPr id="18" name="Marcador de texto 17">
            <a:extLst>
              <a:ext uri="{FF2B5EF4-FFF2-40B4-BE49-F238E27FC236}">
                <a16:creationId xmlns:a16="http://schemas.microsoft.com/office/drawing/2014/main" id="{F4C42A9A-B19C-EF46-9F32-273E1336B6AB}"/>
              </a:ext>
            </a:extLst>
          </p:cNvPr>
          <p:cNvSpPr>
            <a:spLocks noGrp="1"/>
          </p:cNvSpPr>
          <p:nvPr>
            <p:ph type="body" sz="quarter" idx="14"/>
          </p:nvPr>
        </p:nvSpPr>
        <p:spPr>
          <a:xfrm>
            <a:off x="235585" y="1118367"/>
            <a:ext cx="300038" cy="10800"/>
          </a:xfrm>
          <a:solidFill>
            <a:schemeClr val="accent1"/>
          </a:solidFill>
          <a:ln>
            <a:noFill/>
          </a:ln>
        </p:spPr>
        <p:txBody>
          <a:bodyPr/>
          <a:lstStyle/>
          <a:p>
            <a:endParaRPr lang="es-ES_tradnl" dirty="0"/>
          </a:p>
        </p:txBody>
      </p:sp>
      <p:sp>
        <p:nvSpPr>
          <p:cNvPr id="7" name="Marcador de número de diapositiva 6">
            <a:extLst>
              <a:ext uri="{FF2B5EF4-FFF2-40B4-BE49-F238E27FC236}">
                <a16:creationId xmlns:a16="http://schemas.microsoft.com/office/drawing/2014/main" id="{A51803A0-F45D-3244-9A48-9CC6609FDFF5}"/>
              </a:ext>
            </a:extLst>
          </p:cNvPr>
          <p:cNvSpPr>
            <a:spLocks noGrp="1"/>
          </p:cNvSpPr>
          <p:nvPr>
            <p:ph type="sldNum" sz="quarter" idx="17"/>
          </p:nvPr>
        </p:nvSpPr>
        <p:spPr/>
        <p:txBody>
          <a:bodyPr/>
          <a:lstStyle/>
          <a:p>
            <a:fld id="{9F427BA5-3988-40EC-8E11-9F7B5510E66B}" type="slidenum">
              <a:rPr lang="en-GB" smtClean="0"/>
              <a:pPr/>
              <a:t>13</a:t>
            </a:fld>
            <a:endParaRPr lang="en-GB"/>
          </a:p>
        </p:txBody>
      </p:sp>
      <p:sp>
        <p:nvSpPr>
          <p:cNvPr id="14" name="Rectangle 55">
            <a:extLst>
              <a:ext uri="{FF2B5EF4-FFF2-40B4-BE49-F238E27FC236}">
                <a16:creationId xmlns:a16="http://schemas.microsoft.com/office/drawing/2014/main" id="{5D6F98B8-55DD-9B48-9993-13EAF07AD5C9}"/>
              </a:ext>
            </a:extLst>
          </p:cNvPr>
          <p:cNvSpPr/>
          <p:nvPr/>
        </p:nvSpPr>
        <p:spPr>
          <a:xfrm>
            <a:off x="192088" y="1628774"/>
            <a:ext cx="11636856" cy="4452468"/>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rIns="251999" rtlCol="0" anchor="ctr"/>
          <a:lstStyle/>
          <a:p>
            <a:pPr>
              <a:buClr>
                <a:schemeClr val="bg1">
                  <a:lumMod val="50000"/>
                </a:schemeClr>
              </a:buClr>
            </a:pPr>
            <a:endParaRPr lang="es-AR"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Tabla 7">
            <a:extLst>
              <a:ext uri="{FF2B5EF4-FFF2-40B4-BE49-F238E27FC236}">
                <a16:creationId xmlns:a16="http://schemas.microsoft.com/office/drawing/2014/main" id="{8E9B3B93-051F-1347-99D5-342C4BFA3AC4}"/>
              </a:ext>
            </a:extLst>
          </p:cNvPr>
          <p:cNvGraphicFramePr>
            <a:graphicFrameLocks noGrp="1"/>
          </p:cNvGraphicFramePr>
          <p:nvPr>
            <p:extLst>
              <p:ext uri="{D42A27DB-BD31-4B8C-83A1-F6EECF244321}">
                <p14:modId xmlns:p14="http://schemas.microsoft.com/office/powerpoint/2010/main" val="2283873191"/>
              </p:ext>
            </p:extLst>
          </p:nvPr>
        </p:nvGraphicFramePr>
        <p:xfrm>
          <a:off x="385604" y="1636621"/>
          <a:ext cx="11249824" cy="4157032"/>
        </p:xfrm>
        <a:graphic>
          <a:graphicData uri="http://schemas.openxmlformats.org/drawingml/2006/table">
            <a:tbl>
              <a:tblPr bandRow="1">
                <a:tableStyleId>{5C22544A-7EE6-4342-B048-85BDC9FD1C3A}</a:tableStyleId>
              </a:tblPr>
              <a:tblGrid>
                <a:gridCol w="11249824">
                  <a:extLst>
                    <a:ext uri="{9D8B030D-6E8A-4147-A177-3AD203B41FA5}">
                      <a16:colId xmlns:a16="http://schemas.microsoft.com/office/drawing/2014/main" val="325957505"/>
                    </a:ext>
                  </a:extLst>
                </a:gridCol>
              </a:tblGrid>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Productores globales mantendrán el foco en eficiencia y costos vs. expansión de la base de recursos</a:t>
                      </a:r>
                    </a:p>
                  </a:txBody>
                  <a:tcPr marL="90000" anchor="ctr">
                    <a:lnL w="12700" cmpd="sng">
                      <a:noFill/>
                    </a:lnL>
                    <a:lnR w="12700" cmpd="sng">
                      <a:noFill/>
                    </a:lnR>
                    <a:lnT w="12700" cmpd="sng">
                      <a:noFill/>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9639647"/>
                  </a:ext>
                </a:extLst>
              </a:tr>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a diversificación a renovables busca proveer flexibilidad a la estructura de capital para reaccionar ante cambios en las condiciones de mercado. Por los próximos 5 años, el negocio de renovables seguirá siendo marginal para los productores tradicionales</a:t>
                      </a:r>
                      <a:endParaRPr lang="es-AR" sz="1400" b="1" kern="1200" dirty="0">
                        <a:solidFill>
                          <a:schemeClr val="tx2"/>
                        </a:solidFill>
                        <a:latin typeface="Poppins" pitchFamily="2" charset="77"/>
                        <a:ea typeface="Open Sans" panose="020B0606030504020204" pitchFamily="34" charset="0"/>
                        <a:cs typeface="Poppins" pitchFamily="2" charset="77"/>
                      </a:endParaRP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178113"/>
                  </a:ext>
                </a:extLst>
              </a:tr>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b="1" kern="1200" dirty="0">
                          <a:solidFill>
                            <a:schemeClr val="tx2"/>
                          </a:solidFill>
                          <a:latin typeface="Poppins" pitchFamily="2" charset="77"/>
                          <a:ea typeface="Open Sans" panose="020B0606030504020204" pitchFamily="34" charset="0"/>
                          <a:cs typeface="Poppins" pitchFamily="2" charset="77"/>
                        </a:rPr>
                        <a:t>Aquellos que logren la mayor generación de caja quedan mejor posicionados para la transición energética</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632491"/>
                  </a:ext>
                </a:extLst>
              </a:tr>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b="1" kern="1200" dirty="0">
                          <a:solidFill>
                            <a:schemeClr val="tx2"/>
                          </a:solidFill>
                          <a:latin typeface="Poppins" pitchFamily="2" charset="77"/>
                          <a:ea typeface="Open Sans" panose="020B0606030504020204" pitchFamily="34" charset="0"/>
                          <a:cs typeface="Poppins" pitchFamily="2" charset="77"/>
                        </a:rPr>
                        <a:t>Latinoamérica enfrenta un ciclo de menor disponibilidad y financiamiento más costoso por algunos años, con la ventaja de sufrir menos presión por la política de dividendos</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638639"/>
                  </a:ext>
                </a:extLst>
              </a:tr>
              <a:tr h="7420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s-AR" sz="1800" b="1" kern="1200" dirty="0">
                        <a:solidFill>
                          <a:schemeClr val="tx2"/>
                        </a:solidFill>
                        <a:latin typeface="+mn-lt"/>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AR" sz="1800" b="1" kern="1200" dirty="0">
                          <a:solidFill>
                            <a:schemeClr val="tx2"/>
                          </a:solidFill>
                          <a:latin typeface="+mn-lt"/>
                          <a:ea typeface="Open Sans" panose="020B0606030504020204" pitchFamily="34" charset="0"/>
                          <a:cs typeface="Open Sans" panose="020B0606030504020204" pitchFamily="34" charset="0"/>
                        </a:rPr>
                        <a:t>Frente al ciclo financiero actual, el sector (1) provee una cobertura natural contra la inflación, </a:t>
                      </a:r>
                      <a:br>
                        <a:rPr lang="es-AR" sz="1800" b="1" kern="1200" dirty="0">
                          <a:solidFill>
                            <a:schemeClr val="tx2"/>
                          </a:solidFill>
                          <a:latin typeface="+mn-lt"/>
                          <a:ea typeface="Open Sans" panose="020B0606030504020204" pitchFamily="34" charset="0"/>
                          <a:cs typeface="Open Sans" panose="020B0606030504020204" pitchFamily="34" charset="0"/>
                        </a:rPr>
                      </a:br>
                      <a:r>
                        <a:rPr lang="es-AR" sz="1800" b="1" kern="1200" dirty="0">
                          <a:solidFill>
                            <a:schemeClr val="tx2"/>
                          </a:solidFill>
                          <a:latin typeface="+mn-lt"/>
                          <a:ea typeface="Open Sans" panose="020B0606030504020204" pitchFamily="34" charset="0"/>
                          <a:cs typeface="Open Sans" panose="020B0606030504020204" pitchFamily="34" charset="0"/>
                        </a:rPr>
                        <a:t>(2) genera flujos de corto plazo, reduciendo la sensibilidad a las tasas de interés, </a:t>
                      </a:r>
                      <a:br>
                        <a:rPr lang="es-AR" sz="1800" b="1" kern="1200" dirty="0">
                          <a:solidFill>
                            <a:schemeClr val="tx2"/>
                          </a:solidFill>
                          <a:latin typeface="+mn-lt"/>
                          <a:ea typeface="Open Sans" panose="020B0606030504020204" pitchFamily="34" charset="0"/>
                          <a:cs typeface="Open Sans" panose="020B0606030504020204" pitchFamily="34" charset="0"/>
                        </a:rPr>
                      </a:br>
                      <a:r>
                        <a:rPr lang="es-AR" sz="1800" b="1" kern="1200" dirty="0">
                          <a:solidFill>
                            <a:schemeClr val="tx2"/>
                          </a:solidFill>
                          <a:latin typeface="+mn-lt"/>
                          <a:ea typeface="Open Sans" panose="020B0606030504020204" pitchFamily="34" charset="0"/>
                          <a:cs typeface="Open Sans" panose="020B0606030504020204" pitchFamily="34" charset="0"/>
                        </a:rPr>
                        <a:t>(3) funciona como un activo de cobertura ante riesgos geopolíticos</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330039"/>
                  </a:ext>
                </a:extLst>
              </a:tr>
            </a:tbl>
          </a:graphicData>
        </a:graphic>
      </p:graphicFrame>
    </p:spTree>
    <p:extLst>
      <p:ext uri="{BB962C8B-B14F-4D97-AF65-F5344CB8AC3E}">
        <p14:creationId xmlns:p14="http://schemas.microsoft.com/office/powerpoint/2010/main" val="1651193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4131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148FC477-C1E4-2B49-80AE-AAB109731EBE}"/>
              </a:ext>
            </a:extLst>
          </p:cNvPr>
          <p:cNvSpPr/>
          <p:nvPr/>
        </p:nvSpPr>
        <p:spPr>
          <a:xfrm>
            <a:off x="192088" y="1628774"/>
            <a:ext cx="11807822" cy="4593561"/>
          </a:xfrm>
          <a:prstGeom prst="rect">
            <a:avLst/>
          </a:prstGeom>
          <a:gradFill>
            <a:gsLst>
              <a:gs pos="8000">
                <a:schemeClr val="accent1"/>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aphicFrame>
        <p:nvGraphicFramePr>
          <p:cNvPr id="10" name="Objeto 9" hidden="1">
            <a:extLst>
              <a:ext uri="{FF2B5EF4-FFF2-40B4-BE49-F238E27FC236}">
                <a16:creationId xmlns:a16="http://schemas.microsoft.com/office/drawing/2014/main" id="{228B1E59-B60B-774E-BCB6-A8C4225CFF2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228B1E59-B60B-774E-BCB6-A8C4225CFF2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ítulo 7">
            <a:extLst>
              <a:ext uri="{FF2B5EF4-FFF2-40B4-BE49-F238E27FC236}">
                <a16:creationId xmlns:a16="http://schemas.microsoft.com/office/drawing/2014/main" id="{7F437131-6244-4D4F-991F-C3E8BA0448B0}"/>
              </a:ext>
            </a:extLst>
          </p:cNvPr>
          <p:cNvSpPr>
            <a:spLocks noGrp="1"/>
          </p:cNvSpPr>
          <p:nvPr>
            <p:ph type="title"/>
          </p:nvPr>
        </p:nvSpPr>
        <p:spPr/>
        <p:txBody>
          <a:bodyPr vert="horz"/>
          <a:lstStyle/>
          <a:p>
            <a:r>
              <a:rPr lang="es-ES_tradnl" dirty="0"/>
              <a:t>La inversión en Argentina depende del financiamiento global</a:t>
            </a:r>
          </a:p>
        </p:txBody>
      </p:sp>
      <p:sp>
        <p:nvSpPr>
          <p:cNvPr id="17" name="Marcador de texto 16">
            <a:extLst>
              <a:ext uri="{FF2B5EF4-FFF2-40B4-BE49-F238E27FC236}">
                <a16:creationId xmlns:a16="http://schemas.microsoft.com/office/drawing/2014/main" id="{B2122F96-4D73-C243-80F0-E4809824C606}"/>
              </a:ext>
            </a:extLst>
          </p:cNvPr>
          <p:cNvSpPr>
            <a:spLocks noGrp="1"/>
          </p:cNvSpPr>
          <p:nvPr>
            <p:ph type="body" sz="quarter" idx="13"/>
          </p:nvPr>
        </p:nvSpPr>
        <p:spPr/>
        <p:txBody>
          <a:bodyPr/>
          <a:lstStyle/>
          <a:p>
            <a:r>
              <a:rPr lang="es-ES_tradnl" dirty="0"/>
              <a:t>Analizar los desafíos para la argentina implica comprender los aspectos globales</a:t>
            </a:r>
          </a:p>
        </p:txBody>
      </p:sp>
      <p:sp>
        <p:nvSpPr>
          <p:cNvPr id="18" name="Marcador de texto 17">
            <a:extLst>
              <a:ext uri="{FF2B5EF4-FFF2-40B4-BE49-F238E27FC236}">
                <a16:creationId xmlns:a16="http://schemas.microsoft.com/office/drawing/2014/main" id="{F4C42A9A-B19C-EF46-9F32-273E1336B6AB}"/>
              </a:ext>
            </a:extLst>
          </p:cNvPr>
          <p:cNvSpPr>
            <a:spLocks noGrp="1"/>
          </p:cNvSpPr>
          <p:nvPr>
            <p:ph type="body" sz="quarter" idx="14"/>
          </p:nvPr>
        </p:nvSpPr>
        <p:spPr>
          <a:xfrm>
            <a:off x="235585" y="1118367"/>
            <a:ext cx="300038" cy="10800"/>
          </a:xfrm>
          <a:solidFill>
            <a:schemeClr val="accent1"/>
          </a:solidFill>
          <a:ln>
            <a:noFill/>
          </a:ln>
        </p:spPr>
        <p:txBody>
          <a:bodyPr/>
          <a:lstStyle/>
          <a:p>
            <a:endParaRPr lang="es-ES_tradnl" dirty="0"/>
          </a:p>
        </p:txBody>
      </p:sp>
      <p:sp>
        <p:nvSpPr>
          <p:cNvPr id="7" name="Marcador de número de diapositiva 6">
            <a:extLst>
              <a:ext uri="{FF2B5EF4-FFF2-40B4-BE49-F238E27FC236}">
                <a16:creationId xmlns:a16="http://schemas.microsoft.com/office/drawing/2014/main" id="{A51803A0-F45D-3244-9A48-9CC6609FDFF5}"/>
              </a:ext>
            </a:extLst>
          </p:cNvPr>
          <p:cNvSpPr>
            <a:spLocks noGrp="1"/>
          </p:cNvSpPr>
          <p:nvPr>
            <p:ph type="sldNum" sz="quarter" idx="17"/>
          </p:nvPr>
        </p:nvSpPr>
        <p:spPr/>
        <p:txBody>
          <a:bodyPr/>
          <a:lstStyle/>
          <a:p>
            <a:fld id="{9F427BA5-3988-40EC-8E11-9F7B5510E66B}" type="slidenum">
              <a:rPr lang="en-GB" smtClean="0"/>
              <a:pPr/>
              <a:t>2</a:t>
            </a:fld>
            <a:endParaRPr lang="en-GB"/>
          </a:p>
        </p:txBody>
      </p:sp>
      <p:sp>
        <p:nvSpPr>
          <p:cNvPr id="14" name="Rectangle 55">
            <a:extLst>
              <a:ext uri="{FF2B5EF4-FFF2-40B4-BE49-F238E27FC236}">
                <a16:creationId xmlns:a16="http://schemas.microsoft.com/office/drawing/2014/main" id="{5D6F98B8-55DD-9B48-9993-13EAF07AD5C9}"/>
              </a:ext>
            </a:extLst>
          </p:cNvPr>
          <p:cNvSpPr/>
          <p:nvPr/>
        </p:nvSpPr>
        <p:spPr>
          <a:xfrm>
            <a:off x="192088" y="1628774"/>
            <a:ext cx="11636856" cy="4452468"/>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rIns="251999" rtlCol="0" anchor="ctr"/>
          <a:lstStyle/>
          <a:p>
            <a:pPr>
              <a:buClr>
                <a:schemeClr val="bg1">
                  <a:lumMod val="50000"/>
                </a:schemeClr>
              </a:buClr>
            </a:pPr>
            <a:endParaRPr lang="es-AR"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Tabla 7">
            <a:extLst>
              <a:ext uri="{FF2B5EF4-FFF2-40B4-BE49-F238E27FC236}">
                <a16:creationId xmlns:a16="http://schemas.microsoft.com/office/drawing/2014/main" id="{8E9B3B93-051F-1347-99D5-342C4BFA3AC4}"/>
              </a:ext>
            </a:extLst>
          </p:cNvPr>
          <p:cNvGraphicFramePr>
            <a:graphicFrameLocks noGrp="1"/>
          </p:cNvGraphicFramePr>
          <p:nvPr>
            <p:extLst>
              <p:ext uri="{D42A27DB-BD31-4B8C-83A1-F6EECF244321}">
                <p14:modId xmlns:p14="http://schemas.microsoft.com/office/powerpoint/2010/main" val="1421979977"/>
              </p:ext>
            </p:extLst>
          </p:nvPr>
        </p:nvGraphicFramePr>
        <p:xfrm>
          <a:off x="385604" y="1636621"/>
          <a:ext cx="11249824" cy="4157032"/>
        </p:xfrm>
        <a:graphic>
          <a:graphicData uri="http://schemas.openxmlformats.org/drawingml/2006/table">
            <a:tbl>
              <a:tblPr bandRow="1">
                <a:tableStyleId>{5C22544A-7EE6-4342-B048-85BDC9FD1C3A}</a:tableStyleId>
              </a:tblPr>
              <a:tblGrid>
                <a:gridCol w="11249824">
                  <a:extLst>
                    <a:ext uri="{9D8B030D-6E8A-4147-A177-3AD203B41FA5}">
                      <a16:colId xmlns:a16="http://schemas.microsoft.com/office/drawing/2014/main" val="325957505"/>
                    </a:ext>
                  </a:extLst>
                </a:gridCol>
              </a:tblGrid>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as inversiones en explotación de petróleo y gas en Argentina combinan </a:t>
                      </a:r>
                      <a:r>
                        <a:rPr lang="es-AR" sz="1400" b="1" kern="1200" dirty="0">
                          <a:solidFill>
                            <a:schemeClr val="tx2"/>
                          </a:solidFill>
                          <a:latin typeface="Poppins" pitchFamily="2" charset="77"/>
                          <a:ea typeface="Open Sans" panose="020B0606030504020204" pitchFamily="34" charset="0"/>
                          <a:cs typeface="Poppins" pitchFamily="2" charset="77"/>
                        </a:rPr>
                        <a:t>empresas domésticas e internacionales</a:t>
                      </a:r>
                    </a:p>
                  </a:txBody>
                  <a:tcPr marL="90000" anchor="ctr">
                    <a:lnL w="12700" cmpd="sng">
                      <a:noFill/>
                    </a:lnL>
                    <a:lnR w="12700" cmpd="sng">
                      <a:noFill/>
                    </a:lnR>
                    <a:lnT w="12700" cmpd="sng">
                      <a:noFill/>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9639647"/>
                  </a:ext>
                </a:extLst>
              </a:tr>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as empresas internacionales centralizan el </a:t>
                      </a:r>
                      <a:r>
                        <a:rPr lang="es-AR" sz="1400" b="1" kern="1200" dirty="0">
                          <a:solidFill>
                            <a:schemeClr val="tx2"/>
                          </a:solidFill>
                          <a:latin typeface="Poppins" pitchFamily="2" charset="77"/>
                          <a:ea typeface="Open Sans" panose="020B0606030504020204" pitchFamily="34" charset="0"/>
                          <a:cs typeface="Poppins" pitchFamily="2" charset="77"/>
                        </a:rPr>
                        <a:t>fondeo a nivel de la casa matriz </a:t>
                      </a: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quien define su asignación global</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178113"/>
                  </a:ext>
                </a:extLst>
              </a:tr>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as condiciones del financiamiento de las grandes empresas globales sirven como parámetros para proyectos regionales </a:t>
                      </a:r>
                      <a:endParaRPr lang="es-AR" sz="1400" b="1" dirty="0">
                        <a:solidFill>
                          <a:schemeClr val="tx2"/>
                        </a:solidFill>
                        <a:latin typeface="Poppins" pitchFamily="2" charset="77"/>
                        <a:ea typeface="Open Sans" panose="020B0606030504020204" pitchFamily="34" charset="0"/>
                        <a:cs typeface="Poppins" pitchFamily="2" charset="77"/>
                      </a:endParaRP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632491"/>
                  </a:ext>
                </a:extLst>
              </a:tr>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El financiamiento de </a:t>
                      </a:r>
                      <a:r>
                        <a:rPr lang="es-AR" sz="1400" b="1" kern="1200" dirty="0">
                          <a:solidFill>
                            <a:schemeClr val="tx2"/>
                          </a:solidFill>
                          <a:latin typeface="Poppins" pitchFamily="2" charset="77"/>
                          <a:ea typeface="Open Sans" panose="020B0606030504020204" pitchFamily="34" charset="0"/>
                          <a:cs typeface="Poppins" pitchFamily="2" charset="77"/>
                        </a:rPr>
                        <a:t>Pemex, </a:t>
                      </a:r>
                      <a:r>
                        <a:rPr lang="es-AR" sz="1400" b="1" kern="1200" dirty="0" err="1">
                          <a:solidFill>
                            <a:schemeClr val="tx2"/>
                          </a:solidFill>
                          <a:latin typeface="Poppins" pitchFamily="2" charset="77"/>
                          <a:ea typeface="Open Sans" panose="020B0606030504020204" pitchFamily="34" charset="0"/>
                          <a:cs typeface="Poppins" pitchFamily="2" charset="77"/>
                        </a:rPr>
                        <a:t>Petrobrás</a:t>
                      </a:r>
                      <a:r>
                        <a:rPr lang="es-AR" sz="1400" b="1" kern="1200" dirty="0">
                          <a:solidFill>
                            <a:schemeClr val="tx2"/>
                          </a:solidFill>
                          <a:latin typeface="Poppins" pitchFamily="2" charset="77"/>
                          <a:ea typeface="Open Sans" panose="020B0606030504020204" pitchFamily="34" charset="0"/>
                          <a:cs typeface="Poppins" pitchFamily="2" charset="77"/>
                        </a:rPr>
                        <a:t> y Ecopetrol define los parámetros para el resto de los operadores regionales</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638639"/>
                  </a:ext>
                </a:extLst>
              </a:tr>
              <a:tr h="7420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s-AR" sz="1800" b="1" kern="1200" dirty="0">
                        <a:solidFill>
                          <a:schemeClr val="tx2"/>
                        </a:solidFill>
                        <a:latin typeface="+mn-lt"/>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AR" sz="1800" b="1" kern="1200" dirty="0">
                          <a:solidFill>
                            <a:schemeClr val="tx2"/>
                          </a:solidFill>
                          <a:latin typeface="+mn-lt"/>
                          <a:ea typeface="Open Sans" panose="020B0606030504020204" pitchFamily="34" charset="0"/>
                          <a:cs typeface="Open Sans" panose="020B0606030504020204" pitchFamily="34" charset="0"/>
                        </a:rPr>
                        <a:t>Las condiciones financieras internacionales afectan la inversión en Argentina </a:t>
                      </a:r>
                      <a:br>
                        <a:rPr lang="es-AR" sz="1800" b="1" kern="1200" dirty="0">
                          <a:solidFill>
                            <a:schemeClr val="tx2"/>
                          </a:solidFill>
                          <a:latin typeface="+mn-lt"/>
                          <a:ea typeface="Open Sans" panose="020B0606030504020204" pitchFamily="34" charset="0"/>
                          <a:cs typeface="Open Sans" panose="020B0606030504020204" pitchFamily="34" charset="0"/>
                        </a:rPr>
                      </a:br>
                      <a:r>
                        <a:rPr lang="es-AR" sz="1800" b="1" kern="1200" dirty="0">
                          <a:solidFill>
                            <a:schemeClr val="tx2"/>
                          </a:solidFill>
                          <a:latin typeface="+mn-lt"/>
                          <a:ea typeface="Open Sans" panose="020B0606030504020204" pitchFamily="34" charset="0"/>
                          <a:cs typeface="Open Sans" panose="020B0606030504020204" pitchFamily="34" charset="0"/>
                        </a:rPr>
                        <a:t>en forma directa a través de los productores globales y </a:t>
                      </a:r>
                      <a:br>
                        <a:rPr lang="es-AR" sz="1800" b="1" kern="1200" dirty="0">
                          <a:solidFill>
                            <a:schemeClr val="tx2"/>
                          </a:solidFill>
                          <a:latin typeface="+mn-lt"/>
                          <a:ea typeface="Open Sans" panose="020B0606030504020204" pitchFamily="34" charset="0"/>
                          <a:cs typeface="Open Sans" panose="020B0606030504020204" pitchFamily="34" charset="0"/>
                        </a:rPr>
                      </a:br>
                      <a:r>
                        <a:rPr lang="es-AR" sz="1800" b="1" kern="1200" dirty="0">
                          <a:solidFill>
                            <a:schemeClr val="tx2"/>
                          </a:solidFill>
                          <a:latin typeface="+mn-lt"/>
                          <a:ea typeface="Open Sans" panose="020B0606030504020204" pitchFamily="34" charset="0"/>
                          <a:cs typeface="Open Sans" panose="020B0606030504020204" pitchFamily="34" charset="0"/>
                        </a:rPr>
                        <a:t>en forma indirecta por su impacto en el financiamiento de productores domésticos</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693329"/>
                  </a:ext>
                </a:extLst>
              </a:tr>
            </a:tbl>
          </a:graphicData>
        </a:graphic>
      </p:graphicFrame>
    </p:spTree>
    <p:extLst>
      <p:ext uri="{BB962C8B-B14F-4D97-AF65-F5344CB8AC3E}">
        <p14:creationId xmlns:p14="http://schemas.microsoft.com/office/powerpoint/2010/main" val="1826593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148FC477-C1E4-2B49-80AE-AAB109731EBE}"/>
              </a:ext>
            </a:extLst>
          </p:cNvPr>
          <p:cNvSpPr/>
          <p:nvPr/>
        </p:nvSpPr>
        <p:spPr>
          <a:xfrm>
            <a:off x="192088" y="1628774"/>
            <a:ext cx="11807822" cy="4593561"/>
          </a:xfrm>
          <a:prstGeom prst="rect">
            <a:avLst/>
          </a:prstGeom>
          <a:gradFill>
            <a:gsLst>
              <a:gs pos="8000">
                <a:schemeClr val="accent1"/>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aphicFrame>
        <p:nvGraphicFramePr>
          <p:cNvPr id="10" name="Objeto 9" hidden="1">
            <a:extLst>
              <a:ext uri="{FF2B5EF4-FFF2-40B4-BE49-F238E27FC236}">
                <a16:creationId xmlns:a16="http://schemas.microsoft.com/office/drawing/2014/main" id="{228B1E59-B60B-774E-BCB6-A8C4225CFF2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228B1E59-B60B-774E-BCB6-A8C4225CFF2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ítulo 7">
            <a:extLst>
              <a:ext uri="{FF2B5EF4-FFF2-40B4-BE49-F238E27FC236}">
                <a16:creationId xmlns:a16="http://schemas.microsoft.com/office/drawing/2014/main" id="{7F437131-6244-4D4F-991F-C3E8BA0448B0}"/>
              </a:ext>
            </a:extLst>
          </p:cNvPr>
          <p:cNvSpPr>
            <a:spLocks noGrp="1"/>
          </p:cNvSpPr>
          <p:nvPr>
            <p:ph type="title"/>
          </p:nvPr>
        </p:nvSpPr>
        <p:spPr/>
        <p:txBody>
          <a:bodyPr vert="horz"/>
          <a:lstStyle/>
          <a:p>
            <a:r>
              <a:rPr lang="es-ES_tradnl" dirty="0"/>
              <a:t>Transición de un recurso escaso a un recurso abundante</a:t>
            </a:r>
          </a:p>
        </p:txBody>
      </p:sp>
      <p:sp>
        <p:nvSpPr>
          <p:cNvPr id="17" name="Marcador de texto 16">
            <a:extLst>
              <a:ext uri="{FF2B5EF4-FFF2-40B4-BE49-F238E27FC236}">
                <a16:creationId xmlns:a16="http://schemas.microsoft.com/office/drawing/2014/main" id="{B2122F96-4D73-C243-80F0-E4809824C606}"/>
              </a:ext>
            </a:extLst>
          </p:cNvPr>
          <p:cNvSpPr>
            <a:spLocks noGrp="1"/>
          </p:cNvSpPr>
          <p:nvPr>
            <p:ph type="body" sz="quarter" idx="13"/>
          </p:nvPr>
        </p:nvSpPr>
        <p:spPr/>
        <p:txBody>
          <a:bodyPr/>
          <a:lstStyle/>
          <a:p>
            <a:r>
              <a:rPr lang="es-ES_tradnl" dirty="0"/>
              <a:t>Un cambio en el paradigma financiero de la industria de petróleo y gas</a:t>
            </a:r>
          </a:p>
        </p:txBody>
      </p:sp>
      <p:sp>
        <p:nvSpPr>
          <p:cNvPr id="18" name="Marcador de texto 17">
            <a:extLst>
              <a:ext uri="{FF2B5EF4-FFF2-40B4-BE49-F238E27FC236}">
                <a16:creationId xmlns:a16="http://schemas.microsoft.com/office/drawing/2014/main" id="{F4C42A9A-B19C-EF46-9F32-273E1336B6AB}"/>
              </a:ext>
            </a:extLst>
          </p:cNvPr>
          <p:cNvSpPr>
            <a:spLocks noGrp="1"/>
          </p:cNvSpPr>
          <p:nvPr>
            <p:ph type="body" sz="quarter" idx="14"/>
          </p:nvPr>
        </p:nvSpPr>
        <p:spPr>
          <a:xfrm>
            <a:off x="235585" y="1118367"/>
            <a:ext cx="300038" cy="10800"/>
          </a:xfrm>
          <a:solidFill>
            <a:schemeClr val="accent1"/>
          </a:solidFill>
          <a:ln>
            <a:noFill/>
          </a:ln>
        </p:spPr>
        <p:txBody>
          <a:bodyPr/>
          <a:lstStyle/>
          <a:p>
            <a:endParaRPr lang="es-ES_tradnl" dirty="0"/>
          </a:p>
        </p:txBody>
      </p:sp>
      <p:sp>
        <p:nvSpPr>
          <p:cNvPr id="7" name="Marcador de número de diapositiva 6">
            <a:extLst>
              <a:ext uri="{FF2B5EF4-FFF2-40B4-BE49-F238E27FC236}">
                <a16:creationId xmlns:a16="http://schemas.microsoft.com/office/drawing/2014/main" id="{A51803A0-F45D-3244-9A48-9CC6609FDFF5}"/>
              </a:ext>
            </a:extLst>
          </p:cNvPr>
          <p:cNvSpPr>
            <a:spLocks noGrp="1"/>
          </p:cNvSpPr>
          <p:nvPr>
            <p:ph type="sldNum" sz="quarter" idx="17"/>
          </p:nvPr>
        </p:nvSpPr>
        <p:spPr/>
        <p:txBody>
          <a:bodyPr/>
          <a:lstStyle/>
          <a:p>
            <a:fld id="{9F427BA5-3988-40EC-8E11-9F7B5510E66B}" type="slidenum">
              <a:rPr lang="en-GB" smtClean="0"/>
              <a:pPr/>
              <a:t>3</a:t>
            </a:fld>
            <a:endParaRPr lang="en-GB"/>
          </a:p>
        </p:txBody>
      </p:sp>
      <p:sp>
        <p:nvSpPr>
          <p:cNvPr id="14" name="Rectangle 55">
            <a:extLst>
              <a:ext uri="{FF2B5EF4-FFF2-40B4-BE49-F238E27FC236}">
                <a16:creationId xmlns:a16="http://schemas.microsoft.com/office/drawing/2014/main" id="{5D6F98B8-55DD-9B48-9993-13EAF07AD5C9}"/>
              </a:ext>
            </a:extLst>
          </p:cNvPr>
          <p:cNvSpPr/>
          <p:nvPr/>
        </p:nvSpPr>
        <p:spPr>
          <a:xfrm>
            <a:off x="192088" y="1628774"/>
            <a:ext cx="11636856" cy="4452468"/>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rIns="251999" rtlCol="0" anchor="ctr"/>
          <a:lstStyle/>
          <a:p>
            <a:pPr>
              <a:buClr>
                <a:schemeClr val="bg1">
                  <a:lumMod val="50000"/>
                </a:schemeClr>
              </a:buClr>
            </a:pPr>
            <a:endParaRPr lang="es-AR"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Tabla 7">
            <a:extLst>
              <a:ext uri="{FF2B5EF4-FFF2-40B4-BE49-F238E27FC236}">
                <a16:creationId xmlns:a16="http://schemas.microsoft.com/office/drawing/2014/main" id="{8E9B3B93-051F-1347-99D5-342C4BFA3AC4}"/>
              </a:ext>
            </a:extLst>
          </p:cNvPr>
          <p:cNvGraphicFramePr>
            <a:graphicFrameLocks noGrp="1"/>
          </p:cNvGraphicFramePr>
          <p:nvPr>
            <p:extLst>
              <p:ext uri="{D42A27DB-BD31-4B8C-83A1-F6EECF244321}">
                <p14:modId xmlns:p14="http://schemas.microsoft.com/office/powerpoint/2010/main" val="4010507190"/>
              </p:ext>
            </p:extLst>
          </p:nvPr>
        </p:nvGraphicFramePr>
        <p:xfrm>
          <a:off x="385604" y="1636621"/>
          <a:ext cx="11249824" cy="3882712"/>
        </p:xfrm>
        <a:graphic>
          <a:graphicData uri="http://schemas.openxmlformats.org/drawingml/2006/table">
            <a:tbl>
              <a:tblPr bandRow="1">
                <a:tableStyleId>{5C22544A-7EE6-4342-B048-85BDC9FD1C3A}</a:tableStyleId>
              </a:tblPr>
              <a:tblGrid>
                <a:gridCol w="11249824">
                  <a:extLst>
                    <a:ext uri="{9D8B030D-6E8A-4147-A177-3AD203B41FA5}">
                      <a16:colId xmlns:a16="http://schemas.microsoft.com/office/drawing/2014/main" val="325957505"/>
                    </a:ext>
                  </a:extLst>
                </a:gridCol>
              </a:tblGrid>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10 años atrás el mundo financiero se posicionaba ante </a:t>
                      </a:r>
                      <a:r>
                        <a:rPr lang="es-AR" sz="1400" b="1" kern="1200" dirty="0">
                          <a:solidFill>
                            <a:schemeClr val="tx2"/>
                          </a:solidFill>
                          <a:latin typeface="Poppins" pitchFamily="2" charset="77"/>
                          <a:ea typeface="Open Sans" panose="020B0606030504020204" pitchFamily="34" charset="0"/>
                          <a:cs typeface="Poppins" pitchFamily="2" charset="77"/>
                        </a:rPr>
                        <a:t>un recurso que amenazaba con agotarse </a:t>
                      </a: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dentro de un horizonte cercano</a:t>
                      </a:r>
                    </a:p>
                  </a:txBody>
                  <a:tcPr marL="90000" anchor="ctr">
                    <a:lnL w="12700" cmpd="sng">
                      <a:noFill/>
                    </a:lnL>
                    <a:lnR w="12700" cmpd="sng">
                      <a:noFill/>
                    </a:lnR>
                    <a:lnT w="12700" cmpd="sng">
                      <a:noFill/>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9639647"/>
                  </a:ext>
                </a:extLst>
              </a:tr>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a vida remanente de los recursos y la demanda creciente por el producto anticipaban escasez y necesidad de su reemplazo</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178113"/>
                  </a:ext>
                </a:extLst>
              </a:tr>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La tendencia hacia la descarbonización, su aceleración en la post pandemia y la preocupación por el suministro tras conflictos geopolíticos argumentan a favor de un </a:t>
                      </a:r>
                      <a:r>
                        <a:rPr lang="es-AR" sz="1400" b="1" kern="1200" dirty="0">
                          <a:solidFill>
                            <a:schemeClr val="tx2"/>
                          </a:solidFill>
                          <a:latin typeface="Poppins" pitchFamily="2" charset="77"/>
                          <a:ea typeface="Open Sans" panose="020B0606030504020204" pitchFamily="34" charset="0"/>
                          <a:cs typeface="Poppins" pitchFamily="2" charset="77"/>
                        </a:rPr>
                        <a:t>pico en la demanda de petróleo en un horizonte visible</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632491"/>
                  </a:ext>
                </a:extLst>
              </a:tr>
              <a:tr h="742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Un recurso abundante proyecta un </a:t>
                      </a:r>
                      <a:r>
                        <a:rPr lang="es-AR" sz="1400" b="1" kern="1200" dirty="0">
                          <a:solidFill>
                            <a:schemeClr val="tx2"/>
                          </a:solidFill>
                          <a:latin typeface="Poppins" pitchFamily="2" charset="77"/>
                          <a:ea typeface="Open Sans" panose="020B0606030504020204" pitchFamily="34" charset="0"/>
                          <a:cs typeface="Poppins" pitchFamily="2" charset="77"/>
                        </a:rPr>
                        <a:t>techo en los precios </a:t>
                      </a:r>
                      <a:r>
                        <a:rPr lang="es-AR" sz="14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poniendo en </a:t>
                      </a:r>
                      <a:r>
                        <a:rPr lang="es-AR" sz="1400" b="1" kern="1200" dirty="0">
                          <a:solidFill>
                            <a:schemeClr val="tx2"/>
                          </a:solidFill>
                          <a:latin typeface="Poppins" pitchFamily="2" charset="77"/>
                          <a:ea typeface="Open Sans" panose="020B0606030504020204" pitchFamily="34" charset="0"/>
                          <a:cs typeface="Poppins" pitchFamily="2" charset="77"/>
                        </a:rPr>
                        <a:t>riesgo los márgenes financieros</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638639"/>
                  </a:ext>
                </a:extLst>
              </a:tr>
              <a:tr h="7420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s-AR" sz="1800" b="1" kern="1200" dirty="0">
                        <a:solidFill>
                          <a:schemeClr val="tx2"/>
                        </a:solidFill>
                        <a:latin typeface="+mn-lt"/>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s-AR" sz="1800" b="1" kern="1200" dirty="0">
                          <a:solidFill>
                            <a:schemeClr val="tx2"/>
                          </a:solidFill>
                          <a:latin typeface="+mn-lt"/>
                          <a:ea typeface="Open Sans" panose="020B0606030504020204" pitchFamily="34" charset="0"/>
                          <a:cs typeface="Open Sans" panose="020B0606030504020204" pitchFamily="34" charset="0"/>
                        </a:rPr>
                        <a:t>Los inversores acortan su horizonte de inversión y </a:t>
                      </a:r>
                      <a:br>
                        <a:rPr lang="es-AR" sz="1800" b="1" kern="1200" dirty="0">
                          <a:solidFill>
                            <a:schemeClr val="tx2"/>
                          </a:solidFill>
                          <a:latin typeface="+mn-lt"/>
                          <a:ea typeface="Open Sans" panose="020B0606030504020204" pitchFamily="34" charset="0"/>
                          <a:cs typeface="Open Sans" panose="020B0606030504020204" pitchFamily="34" charset="0"/>
                        </a:rPr>
                      </a:br>
                      <a:r>
                        <a:rPr lang="es-AR" sz="1800" b="1" kern="1200" dirty="0">
                          <a:solidFill>
                            <a:schemeClr val="tx2"/>
                          </a:solidFill>
                          <a:latin typeface="+mn-lt"/>
                          <a:ea typeface="Open Sans" panose="020B0606030504020204" pitchFamily="34" charset="0"/>
                          <a:cs typeface="Open Sans" panose="020B0606030504020204" pitchFamily="34" charset="0"/>
                        </a:rPr>
                        <a:t>exigen márgenes palpables con distribuciones continuas</a:t>
                      </a:r>
                    </a:p>
                  </a:txBody>
                  <a:tcPr marL="90000" anchor="ctr">
                    <a:lnL w="12700" cmpd="sng">
                      <a:noFill/>
                    </a:lnL>
                    <a:lnR w="12700" cmpd="sng">
                      <a:noFill/>
                    </a:lnR>
                    <a:lnT w="3175"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19330039"/>
                  </a:ext>
                </a:extLst>
              </a:tr>
            </a:tbl>
          </a:graphicData>
        </a:graphic>
      </p:graphicFrame>
    </p:spTree>
    <p:extLst>
      <p:ext uri="{BB962C8B-B14F-4D97-AF65-F5344CB8AC3E}">
        <p14:creationId xmlns:p14="http://schemas.microsoft.com/office/powerpoint/2010/main" val="1244447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BFBBED81-356D-264F-9116-9E6DBE664B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BFBBED81-356D-264F-9116-9E6DBE664B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D96FB52F-AA6B-7D41-8998-6E36FA259627}"/>
              </a:ext>
            </a:extLst>
          </p:cNvPr>
          <p:cNvSpPr>
            <a:spLocks noGrp="1"/>
          </p:cNvSpPr>
          <p:nvPr>
            <p:ph type="title"/>
          </p:nvPr>
        </p:nvSpPr>
        <p:spPr/>
        <p:txBody>
          <a:bodyPr vert="horz" anchor="b"/>
          <a:lstStyle/>
          <a:p>
            <a:pPr>
              <a:lnSpc>
                <a:spcPct val="80000"/>
              </a:lnSpc>
            </a:pPr>
            <a:r>
              <a:rPr lang="es-ES_tradnl" dirty="0"/>
              <a:t>Demanda de petróleo con pico en un horizonte visible</a:t>
            </a:r>
            <a:endParaRPr lang="en-US" sz="2800" dirty="0"/>
          </a:p>
        </p:txBody>
      </p:sp>
      <p:sp>
        <p:nvSpPr>
          <p:cNvPr id="12" name="Marcador de texto 11">
            <a:extLst>
              <a:ext uri="{FF2B5EF4-FFF2-40B4-BE49-F238E27FC236}">
                <a16:creationId xmlns:a16="http://schemas.microsoft.com/office/drawing/2014/main" id="{384A512A-5049-C449-BF74-A05A567A922A}"/>
              </a:ext>
            </a:extLst>
          </p:cNvPr>
          <p:cNvSpPr>
            <a:spLocks noGrp="1"/>
          </p:cNvSpPr>
          <p:nvPr>
            <p:ph type="body" sz="quarter" idx="13"/>
          </p:nvPr>
        </p:nvSpPr>
        <p:spPr/>
        <p:txBody>
          <a:bodyPr/>
          <a:lstStyle/>
          <a:p>
            <a:r>
              <a:rPr lang="es-ES_tradnl" dirty="0"/>
              <a:t>Un cambio en el paradigma financiero de la industria de petróleo y gas</a:t>
            </a:r>
          </a:p>
          <a:p>
            <a:endParaRPr lang="en-US" dirty="0"/>
          </a:p>
        </p:txBody>
      </p:sp>
      <p:sp>
        <p:nvSpPr>
          <p:cNvPr id="13" name="Marcador de texto 12">
            <a:extLst>
              <a:ext uri="{FF2B5EF4-FFF2-40B4-BE49-F238E27FC236}">
                <a16:creationId xmlns:a16="http://schemas.microsoft.com/office/drawing/2014/main" id="{4F6EE2C8-F438-DA4B-85E5-50DF325DE3D1}"/>
              </a:ext>
            </a:extLst>
          </p:cNvPr>
          <p:cNvSpPr>
            <a:spLocks noGrp="1"/>
          </p:cNvSpPr>
          <p:nvPr>
            <p:ph type="body" sz="quarter" idx="14"/>
          </p:nvPr>
        </p:nvSpPr>
        <p:spPr>
          <a:solidFill>
            <a:schemeClr val="accent1"/>
          </a:solidFill>
          <a:ln>
            <a:noFill/>
          </a:ln>
        </p:spPr>
        <p:txBody>
          <a:bodyPr/>
          <a:lstStyle/>
          <a:p>
            <a:endParaRPr lang="en-US" dirty="0"/>
          </a:p>
        </p:txBody>
      </p:sp>
      <p:sp>
        <p:nvSpPr>
          <p:cNvPr id="8" name="Marcador de número de diapositiva 7">
            <a:extLst>
              <a:ext uri="{FF2B5EF4-FFF2-40B4-BE49-F238E27FC236}">
                <a16:creationId xmlns:a16="http://schemas.microsoft.com/office/drawing/2014/main" id="{9F114160-19C7-2948-AEC7-4FFE886AFDF4}"/>
              </a:ext>
            </a:extLst>
          </p:cNvPr>
          <p:cNvSpPr>
            <a:spLocks noGrp="1"/>
          </p:cNvSpPr>
          <p:nvPr>
            <p:ph type="sldNum" sz="quarter" idx="17"/>
          </p:nvPr>
        </p:nvSpPr>
        <p:spPr/>
        <p:txBody>
          <a:bodyPr/>
          <a:lstStyle/>
          <a:p>
            <a:fld id="{9F427BA5-3988-40EC-8E11-9F7B5510E66B}" type="slidenum">
              <a:rPr lang="en-GB" smtClean="0"/>
              <a:pPr/>
              <a:t>4</a:t>
            </a:fld>
            <a:endParaRPr lang="en-GB"/>
          </a:p>
        </p:txBody>
      </p:sp>
      <p:sp>
        <p:nvSpPr>
          <p:cNvPr id="14" name="Marcador de texto 13">
            <a:extLst>
              <a:ext uri="{FF2B5EF4-FFF2-40B4-BE49-F238E27FC236}">
                <a16:creationId xmlns:a16="http://schemas.microsoft.com/office/drawing/2014/main" id="{F7B8DD8E-811A-C146-B2A5-0EAF986EE3BA}"/>
              </a:ext>
            </a:extLst>
          </p:cNvPr>
          <p:cNvSpPr>
            <a:spLocks noGrp="1"/>
          </p:cNvSpPr>
          <p:nvPr>
            <p:ph type="body" sz="quarter" idx="18"/>
          </p:nvPr>
        </p:nvSpPr>
        <p:spPr/>
        <p:txBody>
          <a:bodyPr/>
          <a:lstStyle/>
          <a:p>
            <a:endParaRPr lang="en-US" dirty="0"/>
          </a:p>
        </p:txBody>
      </p:sp>
      <p:pic>
        <p:nvPicPr>
          <p:cNvPr id="4" name="Graphic 3">
            <a:extLst>
              <a:ext uri="{FF2B5EF4-FFF2-40B4-BE49-F238E27FC236}">
                <a16:creationId xmlns:a16="http://schemas.microsoft.com/office/drawing/2014/main" id="{F67337C4-9885-DD87-3D4A-02654DC4D7E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2088" y="1613223"/>
            <a:ext cx="8300748" cy="4626931"/>
          </a:xfrm>
          <a:prstGeom prst="rect">
            <a:avLst/>
          </a:prstGeom>
        </p:spPr>
      </p:pic>
      <p:sp>
        <p:nvSpPr>
          <p:cNvPr id="3" name="TextBox 2">
            <a:extLst>
              <a:ext uri="{FF2B5EF4-FFF2-40B4-BE49-F238E27FC236}">
                <a16:creationId xmlns:a16="http://schemas.microsoft.com/office/drawing/2014/main" id="{221DBFEB-CB9D-585D-7920-9A5FD9223960}"/>
              </a:ext>
            </a:extLst>
          </p:cNvPr>
          <p:cNvSpPr txBox="1"/>
          <p:nvPr/>
        </p:nvSpPr>
        <p:spPr>
          <a:xfrm>
            <a:off x="8823971" y="1808539"/>
            <a:ext cx="1120820" cy="369332"/>
          </a:xfrm>
          <a:prstGeom prst="rect">
            <a:avLst/>
          </a:prstGeom>
          <a:noFill/>
        </p:spPr>
        <p:txBody>
          <a:bodyPr wrap="none" rtlCol="0">
            <a:spAutoFit/>
          </a:bodyPr>
          <a:lstStyle/>
          <a:p>
            <a:r>
              <a:rPr lang="en-US" i="1" dirty="0"/>
              <a:t>Dic-2020</a:t>
            </a:r>
          </a:p>
        </p:txBody>
      </p:sp>
      <p:pic>
        <p:nvPicPr>
          <p:cNvPr id="7" name="Picture 6" descr="A black text on a white background&#10;&#10;Description automatically generated">
            <a:extLst>
              <a:ext uri="{FF2B5EF4-FFF2-40B4-BE49-F238E27FC236}">
                <a16:creationId xmlns:a16="http://schemas.microsoft.com/office/drawing/2014/main" id="{7F6EC819-CD58-0A55-B5DB-FC760E231F2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40847" y="2128892"/>
            <a:ext cx="2844800" cy="711200"/>
          </a:xfrm>
          <a:prstGeom prst="rect">
            <a:avLst/>
          </a:prstGeom>
        </p:spPr>
      </p:pic>
      <p:sp>
        <p:nvSpPr>
          <p:cNvPr id="9" name="TextBox 8">
            <a:extLst>
              <a:ext uri="{FF2B5EF4-FFF2-40B4-BE49-F238E27FC236}">
                <a16:creationId xmlns:a16="http://schemas.microsoft.com/office/drawing/2014/main" id="{768CCCF3-061B-7CC8-4D13-71E7E5EE1D10}"/>
              </a:ext>
            </a:extLst>
          </p:cNvPr>
          <p:cNvSpPr txBox="1"/>
          <p:nvPr/>
        </p:nvSpPr>
        <p:spPr>
          <a:xfrm>
            <a:off x="8823971" y="2632299"/>
            <a:ext cx="1943161" cy="369332"/>
          </a:xfrm>
          <a:prstGeom prst="rect">
            <a:avLst/>
          </a:prstGeom>
          <a:noFill/>
        </p:spPr>
        <p:txBody>
          <a:bodyPr wrap="none" rtlCol="0">
            <a:spAutoFit/>
          </a:bodyPr>
          <a:lstStyle/>
          <a:p>
            <a:r>
              <a:rPr lang="en-US" dirty="0"/>
              <a:t>-&gt; Pico </a:t>
            </a:r>
            <a:r>
              <a:rPr lang="en-US" dirty="0" err="1"/>
              <a:t>en</a:t>
            </a:r>
            <a:r>
              <a:rPr lang="en-US" dirty="0"/>
              <a:t> 2030+</a:t>
            </a:r>
          </a:p>
        </p:txBody>
      </p:sp>
      <p:sp>
        <p:nvSpPr>
          <p:cNvPr id="11" name="TextBox 10">
            <a:extLst>
              <a:ext uri="{FF2B5EF4-FFF2-40B4-BE49-F238E27FC236}">
                <a16:creationId xmlns:a16="http://schemas.microsoft.com/office/drawing/2014/main" id="{2D9EB002-7F69-D11B-5024-FF2E3443F504}"/>
              </a:ext>
            </a:extLst>
          </p:cNvPr>
          <p:cNvSpPr txBox="1"/>
          <p:nvPr/>
        </p:nvSpPr>
        <p:spPr>
          <a:xfrm>
            <a:off x="8814281" y="3646764"/>
            <a:ext cx="1120820" cy="369332"/>
          </a:xfrm>
          <a:prstGeom prst="rect">
            <a:avLst/>
          </a:prstGeom>
          <a:noFill/>
        </p:spPr>
        <p:txBody>
          <a:bodyPr wrap="none" rtlCol="0">
            <a:spAutoFit/>
          </a:bodyPr>
          <a:lstStyle/>
          <a:p>
            <a:r>
              <a:rPr lang="en-US" i="1" dirty="0"/>
              <a:t>Dic-2022</a:t>
            </a:r>
          </a:p>
        </p:txBody>
      </p:sp>
      <p:sp>
        <p:nvSpPr>
          <p:cNvPr id="16" name="TextBox 15">
            <a:extLst>
              <a:ext uri="{FF2B5EF4-FFF2-40B4-BE49-F238E27FC236}">
                <a16:creationId xmlns:a16="http://schemas.microsoft.com/office/drawing/2014/main" id="{49EF68A9-0E5E-1EA5-7ABC-3B35D2F52F2B}"/>
              </a:ext>
            </a:extLst>
          </p:cNvPr>
          <p:cNvSpPr txBox="1"/>
          <p:nvPr/>
        </p:nvSpPr>
        <p:spPr>
          <a:xfrm>
            <a:off x="8814281" y="4470524"/>
            <a:ext cx="1811714" cy="369332"/>
          </a:xfrm>
          <a:prstGeom prst="rect">
            <a:avLst/>
          </a:prstGeom>
          <a:noFill/>
        </p:spPr>
        <p:txBody>
          <a:bodyPr wrap="none" rtlCol="0">
            <a:spAutoFit/>
          </a:bodyPr>
          <a:lstStyle/>
          <a:p>
            <a:r>
              <a:rPr lang="en-US" dirty="0"/>
              <a:t>-&gt; Pico </a:t>
            </a:r>
            <a:r>
              <a:rPr lang="en-US" dirty="0" err="1"/>
              <a:t>en</a:t>
            </a:r>
            <a:r>
              <a:rPr lang="en-US" dirty="0"/>
              <a:t> 2028</a:t>
            </a:r>
          </a:p>
        </p:txBody>
      </p:sp>
      <p:pic>
        <p:nvPicPr>
          <p:cNvPr id="18" name="Picture 17" descr="A brown letter on a white background&#10;&#10;Description automatically generated">
            <a:extLst>
              <a:ext uri="{FF2B5EF4-FFF2-40B4-BE49-F238E27FC236}">
                <a16:creationId xmlns:a16="http://schemas.microsoft.com/office/drawing/2014/main" id="{1EBA7ECE-DB98-27C4-D6A6-02C58C7792E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75552" y="4015775"/>
            <a:ext cx="2203335" cy="473444"/>
          </a:xfrm>
          <a:prstGeom prst="rect">
            <a:avLst/>
          </a:prstGeom>
        </p:spPr>
      </p:pic>
    </p:spTree>
    <p:extLst>
      <p:ext uri="{BB962C8B-B14F-4D97-AF65-F5344CB8AC3E}">
        <p14:creationId xmlns:p14="http://schemas.microsoft.com/office/powerpoint/2010/main" val="2149231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p:tgtEl>
                                          <p:spTgt spid="3"/>
                                        </p:tgtEl>
                                        <p:attrNameLst>
                                          <p:attrName>ppt_y</p:attrName>
                                        </p:attrNameLst>
                                      </p:cBhvr>
                                      <p:tavLst>
                                        <p:tav tm="0">
                                          <p:val>
                                            <p:strVal val="#ppt_y+#ppt_h*1.125000"/>
                                          </p:val>
                                        </p:tav>
                                        <p:tav tm="100000">
                                          <p:val>
                                            <p:strVal val="#ppt_y"/>
                                          </p:val>
                                        </p:tav>
                                      </p:tavLst>
                                    </p:anim>
                                    <p:animEffect transition="in" filter="wipe(up)">
                                      <p:cBhvr>
                                        <p:cTn id="8" dur="500"/>
                                        <p:tgtEl>
                                          <p:spTgt spid="3"/>
                                        </p:tgtEl>
                                      </p:cBhvr>
                                    </p:animEffect>
                                  </p:childTnLst>
                                </p:cTn>
                              </p:par>
                              <p:par>
                                <p:cTn id="9" presetID="12" presetClass="entr" presetSubtype="4"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p:tgtEl>
                                          <p:spTgt spid="7"/>
                                        </p:tgtEl>
                                        <p:attrNameLst>
                                          <p:attrName>ppt_y</p:attrName>
                                        </p:attrNameLst>
                                      </p:cBhvr>
                                      <p:tavLst>
                                        <p:tav tm="0">
                                          <p:val>
                                            <p:strVal val="#ppt_y+#ppt_h*1.125000"/>
                                          </p:val>
                                        </p:tav>
                                        <p:tav tm="100000">
                                          <p:val>
                                            <p:strVal val="#ppt_y"/>
                                          </p:val>
                                        </p:tav>
                                      </p:tavLst>
                                    </p:anim>
                                    <p:animEffect transition="in" filter="wipe(up)">
                                      <p:cBhvr>
                                        <p:cTn id="12" dur="500"/>
                                        <p:tgtEl>
                                          <p:spTgt spid="7"/>
                                        </p:tgtEl>
                                      </p:cBhvr>
                                    </p:animEffect>
                                  </p:childTnLst>
                                </p:cTn>
                              </p:par>
                              <p:par>
                                <p:cTn id="13" presetID="12" presetClass="entr" presetSubtype="4"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p:tgtEl>
                                          <p:spTgt spid="9"/>
                                        </p:tgtEl>
                                        <p:attrNameLst>
                                          <p:attrName>ppt_y</p:attrName>
                                        </p:attrNameLst>
                                      </p:cBhvr>
                                      <p:tavLst>
                                        <p:tav tm="0">
                                          <p:val>
                                            <p:strVal val="#ppt_y+#ppt_h*1.125000"/>
                                          </p:val>
                                        </p:tav>
                                        <p:tav tm="100000">
                                          <p:val>
                                            <p:strVal val="#ppt_y"/>
                                          </p:val>
                                        </p:tav>
                                      </p:tavLst>
                                    </p:anim>
                                    <p:animEffect transition="in" filter="wipe(up)">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12" presetClass="entr" presetSubtype="4" fill="hold"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p:tgtEl>
                                          <p:spTgt spid="18"/>
                                        </p:tgtEl>
                                        <p:attrNameLst>
                                          <p:attrName>ppt_y</p:attrName>
                                        </p:attrNameLst>
                                      </p:cBhvr>
                                      <p:tavLst>
                                        <p:tav tm="0">
                                          <p:val>
                                            <p:strVal val="#ppt_y+#ppt_h*1.125000"/>
                                          </p:val>
                                        </p:tav>
                                        <p:tav tm="100000">
                                          <p:val>
                                            <p:strVal val="#ppt_y"/>
                                          </p:val>
                                        </p:tav>
                                      </p:tavLst>
                                    </p:anim>
                                    <p:animEffect transition="in" filter="wipe(up)">
                                      <p:cBhvr>
                                        <p:cTn id="22" dur="500"/>
                                        <p:tgtEl>
                                          <p:spTgt spid="18"/>
                                        </p:tgtEl>
                                      </p:cBhvr>
                                    </p:animEffect>
                                  </p:childTnLst>
                                </p:cTn>
                              </p:par>
                              <p:par>
                                <p:cTn id="23" presetID="12" presetClass="entr" presetSubtype="4"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p:tgtEl>
                                          <p:spTgt spid="11"/>
                                        </p:tgtEl>
                                        <p:attrNameLst>
                                          <p:attrName>ppt_y</p:attrName>
                                        </p:attrNameLst>
                                      </p:cBhvr>
                                      <p:tavLst>
                                        <p:tav tm="0">
                                          <p:val>
                                            <p:strVal val="#ppt_y+#ppt_h*1.125000"/>
                                          </p:val>
                                        </p:tav>
                                        <p:tav tm="100000">
                                          <p:val>
                                            <p:strVal val="#ppt_y"/>
                                          </p:val>
                                        </p:tav>
                                      </p:tavLst>
                                    </p:anim>
                                    <p:animEffect transition="in" filter="wipe(up)">
                                      <p:cBhvr>
                                        <p:cTn id="26" dur="500"/>
                                        <p:tgtEl>
                                          <p:spTgt spid="11"/>
                                        </p:tgtEl>
                                      </p:cBhvr>
                                    </p:animEffect>
                                  </p:childTnLst>
                                </p:cTn>
                              </p:par>
                              <p:par>
                                <p:cTn id="27" presetID="12" presetClass="entr" presetSubtype="4"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anim calcmode="lin" valueType="num">
                                      <p:cBhvr additive="base">
                                        <p:cTn id="29" dur="500"/>
                                        <p:tgtEl>
                                          <p:spTgt spid="16"/>
                                        </p:tgtEl>
                                        <p:attrNameLst>
                                          <p:attrName>ppt_y</p:attrName>
                                        </p:attrNameLst>
                                      </p:cBhvr>
                                      <p:tavLst>
                                        <p:tav tm="0">
                                          <p:val>
                                            <p:strVal val="#ppt_y+#ppt_h*1.125000"/>
                                          </p:val>
                                        </p:tav>
                                        <p:tav tm="100000">
                                          <p:val>
                                            <p:strVal val="#ppt_y"/>
                                          </p:val>
                                        </p:tav>
                                      </p:tavLst>
                                    </p:anim>
                                    <p:animEffect transition="in" filter="wipe(up)">
                                      <p:cBhvr>
                                        <p:cTn id="3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p:bldP spid="11" grpId="0"/>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228B1E59-B60B-774E-BCB6-A8C4225CFF2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228B1E59-B60B-774E-BCB6-A8C4225CFF2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ítulo 7">
            <a:extLst>
              <a:ext uri="{FF2B5EF4-FFF2-40B4-BE49-F238E27FC236}">
                <a16:creationId xmlns:a16="http://schemas.microsoft.com/office/drawing/2014/main" id="{7F437131-6244-4D4F-991F-C3E8BA0448B0}"/>
              </a:ext>
            </a:extLst>
          </p:cNvPr>
          <p:cNvSpPr>
            <a:spLocks noGrp="1"/>
          </p:cNvSpPr>
          <p:nvPr>
            <p:ph type="title"/>
          </p:nvPr>
        </p:nvSpPr>
        <p:spPr/>
        <p:txBody>
          <a:bodyPr vert="horz"/>
          <a:lstStyle/>
          <a:p>
            <a:r>
              <a:rPr lang="es-ES_tradnl" dirty="0"/>
              <a:t>Abundancia de recursos e incertidumbre en la demanda</a:t>
            </a:r>
          </a:p>
        </p:txBody>
      </p:sp>
      <p:sp>
        <p:nvSpPr>
          <p:cNvPr id="17" name="Marcador de texto 16">
            <a:extLst>
              <a:ext uri="{FF2B5EF4-FFF2-40B4-BE49-F238E27FC236}">
                <a16:creationId xmlns:a16="http://schemas.microsoft.com/office/drawing/2014/main" id="{B2122F96-4D73-C243-80F0-E4809824C606}"/>
              </a:ext>
            </a:extLst>
          </p:cNvPr>
          <p:cNvSpPr>
            <a:spLocks noGrp="1"/>
          </p:cNvSpPr>
          <p:nvPr>
            <p:ph type="body" sz="quarter" idx="13"/>
          </p:nvPr>
        </p:nvSpPr>
        <p:spPr/>
        <p:txBody>
          <a:bodyPr/>
          <a:lstStyle/>
          <a:p>
            <a:r>
              <a:rPr lang="es-ES_tradnl" dirty="0"/>
              <a:t>Un cambio en el paradigma financiero de la industria de petróleo y gas</a:t>
            </a:r>
          </a:p>
        </p:txBody>
      </p:sp>
      <p:sp>
        <p:nvSpPr>
          <p:cNvPr id="18" name="Marcador de texto 17">
            <a:extLst>
              <a:ext uri="{FF2B5EF4-FFF2-40B4-BE49-F238E27FC236}">
                <a16:creationId xmlns:a16="http://schemas.microsoft.com/office/drawing/2014/main" id="{F4C42A9A-B19C-EF46-9F32-273E1336B6AB}"/>
              </a:ext>
            </a:extLst>
          </p:cNvPr>
          <p:cNvSpPr>
            <a:spLocks noGrp="1"/>
          </p:cNvSpPr>
          <p:nvPr>
            <p:ph type="body" sz="quarter" idx="14"/>
          </p:nvPr>
        </p:nvSpPr>
        <p:spPr>
          <a:xfrm>
            <a:off x="235585" y="1118367"/>
            <a:ext cx="300038" cy="10800"/>
          </a:xfrm>
          <a:solidFill>
            <a:schemeClr val="accent1"/>
          </a:solidFill>
          <a:ln>
            <a:noFill/>
          </a:ln>
        </p:spPr>
        <p:txBody>
          <a:bodyPr/>
          <a:lstStyle/>
          <a:p>
            <a:endParaRPr lang="es-ES_tradnl" dirty="0"/>
          </a:p>
        </p:txBody>
      </p:sp>
      <p:sp>
        <p:nvSpPr>
          <p:cNvPr id="7" name="Marcador de número de diapositiva 6">
            <a:extLst>
              <a:ext uri="{FF2B5EF4-FFF2-40B4-BE49-F238E27FC236}">
                <a16:creationId xmlns:a16="http://schemas.microsoft.com/office/drawing/2014/main" id="{A51803A0-F45D-3244-9A48-9CC6609FDFF5}"/>
              </a:ext>
            </a:extLst>
          </p:cNvPr>
          <p:cNvSpPr>
            <a:spLocks noGrp="1"/>
          </p:cNvSpPr>
          <p:nvPr>
            <p:ph type="sldNum" sz="quarter" idx="17"/>
          </p:nvPr>
        </p:nvSpPr>
        <p:spPr/>
        <p:txBody>
          <a:bodyPr/>
          <a:lstStyle/>
          <a:p>
            <a:fld id="{9F427BA5-3988-40EC-8E11-9F7B5510E66B}" type="slidenum">
              <a:rPr lang="en-GB" smtClean="0"/>
              <a:pPr/>
              <a:t>5</a:t>
            </a:fld>
            <a:endParaRPr lang="en-GB"/>
          </a:p>
        </p:txBody>
      </p:sp>
      <p:sp>
        <p:nvSpPr>
          <p:cNvPr id="6" name="Rectangle 55">
            <a:extLst>
              <a:ext uri="{FF2B5EF4-FFF2-40B4-BE49-F238E27FC236}">
                <a16:creationId xmlns:a16="http://schemas.microsoft.com/office/drawing/2014/main" id="{D39A9AA2-FC84-C211-5B42-96FEC3A066D7}"/>
              </a:ext>
            </a:extLst>
          </p:cNvPr>
          <p:cNvSpPr/>
          <p:nvPr/>
        </p:nvSpPr>
        <p:spPr>
          <a:xfrm>
            <a:off x="235584" y="1638392"/>
            <a:ext cx="4045471" cy="1265848"/>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182880" rIns="251999" rtlCol="0" anchor="t"/>
          <a:lstStyle/>
          <a:p>
            <a:pPr>
              <a:buClr>
                <a:schemeClr val="bg1">
                  <a:lumMod val="50000"/>
                </a:schemeClr>
              </a:buClr>
            </a:pPr>
            <a:r>
              <a:rPr lang="es-AR" b="1" dirty="0">
                <a:solidFill>
                  <a:schemeClr val="tx2"/>
                </a:solidFill>
                <a:latin typeface="Poppins" pitchFamily="2" charset="77"/>
                <a:ea typeface="Open Sans" panose="020B0606030504020204" pitchFamily="34" charset="0"/>
                <a:cs typeface="Poppins" pitchFamily="2" charset="77"/>
              </a:rPr>
              <a:t>Productores de bajo costo </a:t>
            </a:r>
          </a:p>
          <a:p>
            <a:pPr>
              <a:buClr>
                <a:schemeClr val="bg1">
                  <a:lumMod val="50000"/>
                </a:schemeClr>
              </a:buClr>
            </a:pPr>
            <a:r>
              <a:rPr lang="es-AR"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Capaces de operar en un contexto de precios bajos</a:t>
            </a:r>
          </a:p>
        </p:txBody>
      </p:sp>
      <p:sp>
        <p:nvSpPr>
          <p:cNvPr id="16" name="Rectángulo 25">
            <a:extLst>
              <a:ext uri="{FF2B5EF4-FFF2-40B4-BE49-F238E27FC236}">
                <a16:creationId xmlns:a16="http://schemas.microsoft.com/office/drawing/2014/main" id="{55E04126-AC63-1BA6-3F7D-1D97E214BF81}"/>
              </a:ext>
            </a:extLst>
          </p:cNvPr>
          <p:cNvSpPr/>
          <p:nvPr/>
        </p:nvSpPr>
        <p:spPr>
          <a:xfrm>
            <a:off x="235585" y="1640933"/>
            <a:ext cx="4045472" cy="66196"/>
          </a:xfrm>
          <a:prstGeom prst="rect">
            <a:avLst/>
          </a:prstGeom>
          <a:gradFill>
            <a:gsLst>
              <a:gs pos="8000">
                <a:schemeClr val="accent3"/>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1" name="Rectangle 55">
            <a:extLst>
              <a:ext uri="{FF2B5EF4-FFF2-40B4-BE49-F238E27FC236}">
                <a16:creationId xmlns:a16="http://schemas.microsoft.com/office/drawing/2014/main" id="{B6EE8133-8940-2232-5690-9C1745BF89B2}"/>
              </a:ext>
            </a:extLst>
          </p:cNvPr>
          <p:cNvSpPr/>
          <p:nvPr/>
        </p:nvSpPr>
        <p:spPr>
          <a:xfrm>
            <a:off x="235584" y="3048489"/>
            <a:ext cx="4045471" cy="1265848"/>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182880" rIns="251999" rtlCol="0" anchor="t"/>
          <a:lstStyle/>
          <a:p>
            <a:pPr>
              <a:buClr>
                <a:schemeClr val="bg1">
                  <a:lumMod val="50000"/>
                </a:schemeClr>
              </a:buClr>
            </a:pPr>
            <a:r>
              <a:rPr lang="es-AR" b="1" dirty="0">
                <a:solidFill>
                  <a:schemeClr val="tx2"/>
                </a:solidFill>
                <a:latin typeface="Poppins" pitchFamily="2" charset="77"/>
                <a:ea typeface="Open Sans" panose="020B0606030504020204" pitchFamily="34" charset="0"/>
                <a:cs typeface="Poppins" pitchFamily="2" charset="77"/>
              </a:rPr>
              <a:t>Disciplina de costos</a:t>
            </a:r>
          </a:p>
          <a:p>
            <a:pPr>
              <a:buClr>
                <a:schemeClr val="bg1">
                  <a:lumMod val="50000"/>
                </a:schemeClr>
              </a:buClr>
            </a:pPr>
            <a:r>
              <a:rPr lang="es-AR"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Procesos transparentes y comprensibles para los inversores</a:t>
            </a:r>
          </a:p>
        </p:txBody>
      </p:sp>
      <p:sp>
        <p:nvSpPr>
          <p:cNvPr id="23" name="Rectángulo 25">
            <a:extLst>
              <a:ext uri="{FF2B5EF4-FFF2-40B4-BE49-F238E27FC236}">
                <a16:creationId xmlns:a16="http://schemas.microsoft.com/office/drawing/2014/main" id="{CFD9E110-636F-D2F1-69B4-923E211C27EC}"/>
              </a:ext>
            </a:extLst>
          </p:cNvPr>
          <p:cNvSpPr/>
          <p:nvPr/>
        </p:nvSpPr>
        <p:spPr>
          <a:xfrm>
            <a:off x="235585" y="3051030"/>
            <a:ext cx="4045472" cy="66196"/>
          </a:xfrm>
          <a:prstGeom prst="rect">
            <a:avLst/>
          </a:prstGeom>
          <a:gradFill>
            <a:gsLst>
              <a:gs pos="8000">
                <a:schemeClr val="accent3"/>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4" name="Rectangle 55">
            <a:extLst>
              <a:ext uri="{FF2B5EF4-FFF2-40B4-BE49-F238E27FC236}">
                <a16:creationId xmlns:a16="http://schemas.microsoft.com/office/drawing/2014/main" id="{BCF781A0-C6E1-D1EA-3060-DBC593DC65E8}"/>
              </a:ext>
            </a:extLst>
          </p:cNvPr>
          <p:cNvSpPr/>
          <p:nvPr/>
        </p:nvSpPr>
        <p:spPr>
          <a:xfrm>
            <a:off x="235584" y="4479358"/>
            <a:ext cx="4045471" cy="1265848"/>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182880" rIns="251999" rtlCol="0" anchor="t"/>
          <a:lstStyle/>
          <a:p>
            <a:pPr>
              <a:buClr>
                <a:schemeClr val="bg1">
                  <a:lumMod val="50000"/>
                </a:schemeClr>
              </a:buClr>
            </a:pPr>
            <a:r>
              <a:rPr lang="es-AR" b="1" dirty="0">
                <a:solidFill>
                  <a:schemeClr val="tx2"/>
                </a:solidFill>
                <a:latin typeface="Poppins" pitchFamily="2" charset="77"/>
                <a:ea typeface="Open Sans" panose="020B0606030504020204" pitchFamily="34" charset="0"/>
                <a:cs typeface="Poppins" pitchFamily="2" charset="77"/>
              </a:rPr>
              <a:t>Disponibilidad de recursos</a:t>
            </a:r>
          </a:p>
          <a:p>
            <a:pPr>
              <a:buClr>
                <a:schemeClr val="bg1">
                  <a:lumMod val="50000"/>
                </a:schemeClr>
              </a:buClr>
            </a:pPr>
            <a:r>
              <a:rPr lang="es-AR"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Se prioriza la eficiencia sobre el crecimiento</a:t>
            </a:r>
          </a:p>
        </p:txBody>
      </p:sp>
      <p:sp>
        <p:nvSpPr>
          <p:cNvPr id="25" name="Rectángulo 25">
            <a:extLst>
              <a:ext uri="{FF2B5EF4-FFF2-40B4-BE49-F238E27FC236}">
                <a16:creationId xmlns:a16="http://schemas.microsoft.com/office/drawing/2014/main" id="{24BA62B2-302B-1CAE-C126-B043C945CE95}"/>
              </a:ext>
            </a:extLst>
          </p:cNvPr>
          <p:cNvSpPr/>
          <p:nvPr/>
        </p:nvSpPr>
        <p:spPr>
          <a:xfrm>
            <a:off x="235585" y="4468044"/>
            <a:ext cx="4045472" cy="66196"/>
          </a:xfrm>
          <a:prstGeom prst="rect">
            <a:avLst/>
          </a:prstGeom>
          <a:gradFill>
            <a:gsLst>
              <a:gs pos="8000">
                <a:schemeClr val="accent3"/>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6" name="Right Brace 25">
            <a:extLst>
              <a:ext uri="{FF2B5EF4-FFF2-40B4-BE49-F238E27FC236}">
                <a16:creationId xmlns:a16="http://schemas.microsoft.com/office/drawing/2014/main" id="{31A01ECF-9572-2A0B-2EBB-112E8967072D}"/>
              </a:ext>
            </a:extLst>
          </p:cNvPr>
          <p:cNvSpPr/>
          <p:nvPr/>
        </p:nvSpPr>
        <p:spPr>
          <a:xfrm>
            <a:off x="4378037" y="1623197"/>
            <a:ext cx="221672" cy="4122009"/>
          </a:xfrm>
          <a:prstGeom prst="rightBrace">
            <a:avLst>
              <a:gd name="adj1" fmla="val 64583"/>
              <a:gd name="adj2" fmla="val 51011"/>
            </a:avLst>
          </a:prstGeom>
          <a:ln w="444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Rectangle 55">
            <a:extLst>
              <a:ext uri="{FF2B5EF4-FFF2-40B4-BE49-F238E27FC236}">
                <a16:creationId xmlns:a16="http://schemas.microsoft.com/office/drawing/2014/main" id="{900B0ECA-F055-E0AC-CF34-4F105168E1E7}"/>
              </a:ext>
            </a:extLst>
          </p:cNvPr>
          <p:cNvSpPr/>
          <p:nvPr/>
        </p:nvSpPr>
        <p:spPr>
          <a:xfrm>
            <a:off x="4947038" y="2570453"/>
            <a:ext cx="2341420" cy="2347912"/>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rtlCol="0" anchor="t"/>
          <a:lstStyle/>
          <a:p>
            <a:pPr marL="179388" indent="-179388" algn="ctr">
              <a:buClr>
                <a:schemeClr val="bg1">
                  <a:lumMod val="50000"/>
                </a:schemeClr>
              </a:buClr>
            </a:pPr>
            <a:r>
              <a:rPr lang="es-AR" b="1" u="sng" dirty="0">
                <a:solidFill>
                  <a:schemeClr val="tx2"/>
                </a:solidFill>
                <a:latin typeface="Poppins" pitchFamily="2" charset="77"/>
                <a:ea typeface="Open Sans" panose="020B0606030504020204" pitchFamily="34" charset="0"/>
                <a:cs typeface="Poppins" pitchFamily="2" charset="77"/>
              </a:rPr>
              <a:t>Prioridades del Inversor</a:t>
            </a:r>
          </a:p>
          <a:p>
            <a:pPr marL="179388" indent="-179388" algn="ctr">
              <a:buClr>
                <a:schemeClr val="bg1">
                  <a:lumMod val="50000"/>
                </a:schemeClr>
              </a:buClr>
            </a:pPr>
            <a:endParaRPr lang="es-AR" b="1" u="sng" dirty="0">
              <a:solidFill>
                <a:schemeClr val="tx2"/>
              </a:solidFill>
              <a:latin typeface="Poppins" pitchFamily="2" charset="77"/>
              <a:ea typeface="Open Sans" panose="020B0606030504020204" pitchFamily="34" charset="0"/>
              <a:cs typeface="Poppins" pitchFamily="2" charset="77"/>
            </a:endParaRPr>
          </a:p>
          <a:p>
            <a:pPr marL="179388" indent="-179388" algn="ctr">
              <a:buClr>
                <a:schemeClr val="bg1">
                  <a:lumMod val="50000"/>
                </a:schemeClr>
              </a:buClr>
            </a:pPr>
            <a:r>
              <a:rPr lang="es-AR" b="1" dirty="0">
                <a:solidFill>
                  <a:srgbClr val="9FBE60"/>
                </a:solidFill>
                <a:latin typeface="Poppins" pitchFamily="2" charset="77"/>
                <a:ea typeface="Open Sans" panose="020B0606030504020204" pitchFamily="34" charset="0"/>
                <a:cs typeface="Poppins" pitchFamily="2" charset="77"/>
              </a:rPr>
              <a:t>+ Flujo para los inversores</a:t>
            </a:r>
          </a:p>
          <a:p>
            <a:pPr algn="ctr">
              <a:buClr>
                <a:schemeClr val="bg1">
                  <a:lumMod val="50000"/>
                </a:schemeClr>
              </a:buClr>
            </a:pPr>
            <a:endParaRPr lang="es-AR" b="1" dirty="0">
              <a:solidFill>
                <a:schemeClr val="tx2"/>
              </a:solidFill>
              <a:latin typeface="Poppins" pitchFamily="2" charset="77"/>
              <a:ea typeface="Open Sans" panose="020B0606030504020204" pitchFamily="34" charset="0"/>
              <a:cs typeface="Poppins" pitchFamily="2" charset="77"/>
            </a:endParaRPr>
          </a:p>
          <a:p>
            <a:pPr algn="ctr">
              <a:buClr>
                <a:schemeClr val="bg1">
                  <a:lumMod val="50000"/>
                </a:schemeClr>
              </a:buClr>
            </a:pPr>
            <a:r>
              <a:rPr lang="es-AR" b="1" dirty="0">
                <a:solidFill>
                  <a:srgbClr val="EC5E07"/>
                </a:solidFill>
                <a:latin typeface="Poppins" pitchFamily="2" charset="77"/>
                <a:ea typeface="Open Sans" panose="020B0606030504020204" pitchFamily="34" charset="0"/>
                <a:cs typeface="Poppins" pitchFamily="2" charset="77"/>
              </a:rPr>
              <a:t>- Endeudamiento</a:t>
            </a:r>
            <a:endParaRPr lang="es-AR" dirty="0">
              <a:solidFill>
                <a:srgbClr val="EC5E07"/>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55">
            <a:extLst>
              <a:ext uri="{FF2B5EF4-FFF2-40B4-BE49-F238E27FC236}">
                <a16:creationId xmlns:a16="http://schemas.microsoft.com/office/drawing/2014/main" id="{7E2075F5-B490-5573-7D22-722B874D03A7}"/>
              </a:ext>
            </a:extLst>
          </p:cNvPr>
          <p:cNvSpPr/>
          <p:nvPr/>
        </p:nvSpPr>
        <p:spPr>
          <a:xfrm>
            <a:off x="7954442" y="1659410"/>
            <a:ext cx="4045471" cy="1265848"/>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182880" rIns="251999" rtlCol="0" anchor="t"/>
          <a:lstStyle/>
          <a:p>
            <a:pPr>
              <a:buClr>
                <a:schemeClr val="bg1">
                  <a:lumMod val="50000"/>
                </a:schemeClr>
              </a:buClr>
            </a:pPr>
            <a:r>
              <a:rPr lang="es-AR" b="1" dirty="0">
                <a:solidFill>
                  <a:schemeClr val="tx2"/>
                </a:solidFill>
                <a:latin typeface="Poppins" pitchFamily="2" charset="77"/>
                <a:ea typeface="Open Sans" panose="020B0606030504020204" pitchFamily="34" charset="0"/>
                <a:cs typeface="Poppins" pitchFamily="2" charset="77"/>
              </a:rPr>
              <a:t>Industria de bajo crecimiento</a:t>
            </a:r>
          </a:p>
          <a:p>
            <a:pPr>
              <a:buClr>
                <a:schemeClr val="bg1">
                  <a:lumMod val="50000"/>
                </a:schemeClr>
              </a:buClr>
            </a:pPr>
            <a:r>
              <a:rPr lang="es-AR"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Crecimiento menor al PBI global</a:t>
            </a:r>
          </a:p>
        </p:txBody>
      </p:sp>
      <p:sp>
        <p:nvSpPr>
          <p:cNvPr id="29" name="Rectángulo 25">
            <a:extLst>
              <a:ext uri="{FF2B5EF4-FFF2-40B4-BE49-F238E27FC236}">
                <a16:creationId xmlns:a16="http://schemas.microsoft.com/office/drawing/2014/main" id="{5C3A8D61-79C6-C7D6-647B-1B49B1DC1890}"/>
              </a:ext>
            </a:extLst>
          </p:cNvPr>
          <p:cNvSpPr/>
          <p:nvPr/>
        </p:nvSpPr>
        <p:spPr>
          <a:xfrm>
            <a:off x="7954443" y="1648096"/>
            <a:ext cx="4045472" cy="66196"/>
          </a:xfrm>
          <a:prstGeom prst="rect">
            <a:avLst/>
          </a:prstGeom>
          <a:gradFill>
            <a:gsLst>
              <a:gs pos="8000">
                <a:schemeClr val="accent3"/>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0" name="Rectangle 55">
            <a:extLst>
              <a:ext uri="{FF2B5EF4-FFF2-40B4-BE49-F238E27FC236}">
                <a16:creationId xmlns:a16="http://schemas.microsoft.com/office/drawing/2014/main" id="{B9C58CF9-FFBC-D014-12DA-9DC5F98845EB}"/>
              </a:ext>
            </a:extLst>
          </p:cNvPr>
          <p:cNvSpPr/>
          <p:nvPr/>
        </p:nvSpPr>
        <p:spPr>
          <a:xfrm>
            <a:off x="7954442" y="3069507"/>
            <a:ext cx="4045471" cy="1265848"/>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182880" rIns="251999" rtlCol="0" anchor="t"/>
          <a:lstStyle/>
          <a:p>
            <a:pPr>
              <a:buClr>
                <a:schemeClr val="bg1">
                  <a:lumMod val="50000"/>
                </a:schemeClr>
              </a:buClr>
            </a:pPr>
            <a:r>
              <a:rPr lang="es-AR" b="1" dirty="0">
                <a:solidFill>
                  <a:schemeClr val="tx2"/>
                </a:solidFill>
                <a:latin typeface="Poppins" pitchFamily="2" charset="77"/>
                <a:ea typeface="Open Sans" panose="020B0606030504020204" pitchFamily="34" charset="0"/>
                <a:cs typeface="Poppins" pitchFamily="2" charset="77"/>
              </a:rPr>
              <a:t>Tecnológicamente complejo</a:t>
            </a:r>
          </a:p>
          <a:p>
            <a:pPr>
              <a:buClr>
                <a:schemeClr val="bg1">
                  <a:lumMod val="50000"/>
                </a:schemeClr>
              </a:buClr>
            </a:pPr>
            <a:r>
              <a:rPr lang="es-AR"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Asimetría de información con los inversores</a:t>
            </a:r>
          </a:p>
        </p:txBody>
      </p:sp>
      <p:sp>
        <p:nvSpPr>
          <p:cNvPr id="31" name="Rectángulo 25">
            <a:extLst>
              <a:ext uri="{FF2B5EF4-FFF2-40B4-BE49-F238E27FC236}">
                <a16:creationId xmlns:a16="http://schemas.microsoft.com/office/drawing/2014/main" id="{C401F1B9-02E7-8D4A-6C34-FCF7224212CF}"/>
              </a:ext>
            </a:extLst>
          </p:cNvPr>
          <p:cNvSpPr/>
          <p:nvPr/>
        </p:nvSpPr>
        <p:spPr>
          <a:xfrm>
            <a:off x="7954443" y="3058193"/>
            <a:ext cx="4045472" cy="66196"/>
          </a:xfrm>
          <a:prstGeom prst="rect">
            <a:avLst/>
          </a:prstGeom>
          <a:gradFill>
            <a:gsLst>
              <a:gs pos="8000">
                <a:schemeClr val="accent3"/>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2" name="Rectangle 55">
            <a:extLst>
              <a:ext uri="{FF2B5EF4-FFF2-40B4-BE49-F238E27FC236}">
                <a16:creationId xmlns:a16="http://schemas.microsoft.com/office/drawing/2014/main" id="{A3980320-02FE-6B35-DCFF-BE9B320946DF}"/>
              </a:ext>
            </a:extLst>
          </p:cNvPr>
          <p:cNvSpPr/>
          <p:nvPr/>
        </p:nvSpPr>
        <p:spPr>
          <a:xfrm>
            <a:off x="7954442" y="4500376"/>
            <a:ext cx="4045471" cy="1265848"/>
          </a:xfrm>
          <a:prstGeom prst="rect">
            <a:avLst/>
          </a:prstGeom>
          <a:solidFill>
            <a:schemeClr val="bg1"/>
          </a:solidFill>
          <a:ln>
            <a:noFill/>
          </a:ln>
          <a:effectLst>
            <a:outerShdw blurRad="3810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182880" rIns="251999" rtlCol="0" anchor="t"/>
          <a:lstStyle/>
          <a:p>
            <a:pPr>
              <a:buClr>
                <a:schemeClr val="bg1">
                  <a:lumMod val="50000"/>
                </a:schemeClr>
              </a:buClr>
            </a:pPr>
            <a:r>
              <a:rPr lang="es-AR" b="1" dirty="0">
                <a:solidFill>
                  <a:schemeClr val="tx2"/>
                </a:solidFill>
                <a:latin typeface="Poppins" pitchFamily="2" charset="77"/>
                <a:ea typeface="Open Sans" panose="020B0606030504020204" pitchFamily="34" charset="0"/>
                <a:cs typeface="Poppins" pitchFamily="2" charset="77"/>
              </a:rPr>
              <a:t>Concentración y geopolítica</a:t>
            </a:r>
          </a:p>
          <a:p>
            <a:pPr>
              <a:buClr>
                <a:schemeClr val="bg1">
                  <a:lumMod val="50000"/>
                </a:schemeClr>
              </a:buClr>
            </a:pPr>
            <a:r>
              <a:rPr lang="es-AR"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Pocas oportunidades de reordenamientos estratégicos</a:t>
            </a:r>
          </a:p>
        </p:txBody>
      </p:sp>
      <p:sp>
        <p:nvSpPr>
          <p:cNvPr id="33" name="Rectángulo 25">
            <a:extLst>
              <a:ext uri="{FF2B5EF4-FFF2-40B4-BE49-F238E27FC236}">
                <a16:creationId xmlns:a16="http://schemas.microsoft.com/office/drawing/2014/main" id="{9FB9CDC6-3CC3-FD65-BB51-E2A56AD02234}"/>
              </a:ext>
            </a:extLst>
          </p:cNvPr>
          <p:cNvSpPr/>
          <p:nvPr/>
        </p:nvSpPr>
        <p:spPr>
          <a:xfrm>
            <a:off x="7954443" y="4489062"/>
            <a:ext cx="4045472" cy="66196"/>
          </a:xfrm>
          <a:prstGeom prst="rect">
            <a:avLst/>
          </a:prstGeom>
          <a:gradFill>
            <a:gsLst>
              <a:gs pos="8000">
                <a:schemeClr val="accent3"/>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4" name="Right Brace 33">
            <a:extLst>
              <a:ext uri="{FF2B5EF4-FFF2-40B4-BE49-F238E27FC236}">
                <a16:creationId xmlns:a16="http://schemas.microsoft.com/office/drawing/2014/main" id="{4BC8F82D-DA47-8484-011D-813FE4EC90CB}"/>
              </a:ext>
            </a:extLst>
          </p:cNvPr>
          <p:cNvSpPr/>
          <p:nvPr/>
        </p:nvSpPr>
        <p:spPr>
          <a:xfrm flipH="1">
            <a:off x="7635788" y="1644215"/>
            <a:ext cx="221672" cy="4122009"/>
          </a:xfrm>
          <a:prstGeom prst="rightBrace">
            <a:avLst>
              <a:gd name="adj1" fmla="val 64583"/>
              <a:gd name="adj2" fmla="val 51011"/>
            </a:avLst>
          </a:prstGeom>
          <a:ln w="444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914076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additive="base">
                                        <p:cTn id="17" dur="500" fill="hold"/>
                                        <p:tgtEl>
                                          <p:spTgt spid="23"/>
                                        </p:tgtEl>
                                        <p:attrNameLst>
                                          <p:attrName>ppt_x</p:attrName>
                                        </p:attrNameLst>
                                      </p:cBhvr>
                                      <p:tavLst>
                                        <p:tav tm="0">
                                          <p:val>
                                            <p:strVal val="#ppt_x"/>
                                          </p:val>
                                        </p:tav>
                                        <p:tav tm="100000">
                                          <p:val>
                                            <p:strVal val="#ppt_x"/>
                                          </p:val>
                                        </p:tav>
                                      </p:tavLst>
                                    </p:anim>
                                    <p:anim calcmode="lin" valueType="num">
                                      <p:cBhvr additive="base">
                                        <p:cTn id="18" dur="500" fill="hold"/>
                                        <p:tgtEl>
                                          <p:spTgt spid="23"/>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 calcmode="lin" valueType="num">
                                      <p:cBhvr additive="base">
                                        <p:cTn id="21" dur="500" fill="hold"/>
                                        <p:tgtEl>
                                          <p:spTgt spid="21"/>
                                        </p:tgtEl>
                                        <p:attrNameLst>
                                          <p:attrName>ppt_x</p:attrName>
                                        </p:attrNameLst>
                                      </p:cBhvr>
                                      <p:tavLst>
                                        <p:tav tm="0">
                                          <p:val>
                                            <p:strVal val="#ppt_x"/>
                                          </p:val>
                                        </p:tav>
                                        <p:tav tm="100000">
                                          <p:val>
                                            <p:strVal val="#ppt_x"/>
                                          </p:val>
                                        </p:tav>
                                      </p:tavLst>
                                    </p:anim>
                                    <p:anim calcmode="lin" valueType="num">
                                      <p:cBhvr additive="base">
                                        <p:cTn id="2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500" fill="hold"/>
                                        <p:tgtEl>
                                          <p:spTgt spid="25"/>
                                        </p:tgtEl>
                                        <p:attrNameLst>
                                          <p:attrName>ppt_x</p:attrName>
                                        </p:attrNameLst>
                                      </p:cBhvr>
                                      <p:tavLst>
                                        <p:tav tm="0">
                                          <p:val>
                                            <p:strVal val="#ppt_x"/>
                                          </p:val>
                                        </p:tav>
                                        <p:tav tm="100000">
                                          <p:val>
                                            <p:strVal val="#ppt_x"/>
                                          </p:val>
                                        </p:tav>
                                      </p:tavLst>
                                    </p:anim>
                                    <p:anim calcmode="lin" valueType="num">
                                      <p:cBhvr additive="base">
                                        <p:cTn id="28" dur="500" fill="hold"/>
                                        <p:tgtEl>
                                          <p:spTgt spid="25"/>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500" fill="hold"/>
                                        <p:tgtEl>
                                          <p:spTgt spid="24"/>
                                        </p:tgtEl>
                                        <p:attrNameLst>
                                          <p:attrName>ppt_x</p:attrName>
                                        </p:attrNameLst>
                                      </p:cBhvr>
                                      <p:tavLst>
                                        <p:tav tm="0">
                                          <p:val>
                                            <p:strVal val="#ppt_x"/>
                                          </p:val>
                                        </p:tav>
                                        <p:tav tm="100000">
                                          <p:val>
                                            <p:strVal val="#ppt_x"/>
                                          </p:val>
                                        </p:tav>
                                      </p:tavLst>
                                    </p:anim>
                                    <p:anim calcmode="lin" valueType="num">
                                      <p:cBhvr additive="base">
                                        <p:cTn id="32"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ppt_x"/>
                                          </p:val>
                                        </p:tav>
                                        <p:tav tm="100000">
                                          <p:val>
                                            <p:strVal val="#ppt_x"/>
                                          </p:val>
                                        </p:tav>
                                      </p:tavLst>
                                    </p:anim>
                                    <p:anim calcmode="lin" valueType="num">
                                      <p:cBhvr additive="base">
                                        <p:cTn id="38" dur="500" fill="hold"/>
                                        <p:tgtEl>
                                          <p:spTgt spid="29"/>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 calcmode="lin" valueType="num">
                                      <p:cBhvr additive="base">
                                        <p:cTn id="41" dur="500" fill="hold"/>
                                        <p:tgtEl>
                                          <p:spTgt spid="28"/>
                                        </p:tgtEl>
                                        <p:attrNameLst>
                                          <p:attrName>ppt_x</p:attrName>
                                        </p:attrNameLst>
                                      </p:cBhvr>
                                      <p:tavLst>
                                        <p:tav tm="0">
                                          <p:val>
                                            <p:strVal val="#ppt_x"/>
                                          </p:val>
                                        </p:tav>
                                        <p:tav tm="100000">
                                          <p:val>
                                            <p:strVal val="#ppt_x"/>
                                          </p:val>
                                        </p:tav>
                                      </p:tavLst>
                                    </p:anim>
                                    <p:anim calcmode="lin" valueType="num">
                                      <p:cBhvr additive="base">
                                        <p:cTn id="4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1"/>
                                        </p:tgtEl>
                                        <p:attrNameLst>
                                          <p:attrName>style.visibility</p:attrName>
                                        </p:attrNameLst>
                                      </p:cBhvr>
                                      <p:to>
                                        <p:strVal val="visible"/>
                                      </p:to>
                                    </p:set>
                                    <p:anim calcmode="lin" valueType="num">
                                      <p:cBhvr additive="base">
                                        <p:cTn id="47" dur="500" fill="hold"/>
                                        <p:tgtEl>
                                          <p:spTgt spid="31"/>
                                        </p:tgtEl>
                                        <p:attrNameLst>
                                          <p:attrName>ppt_x</p:attrName>
                                        </p:attrNameLst>
                                      </p:cBhvr>
                                      <p:tavLst>
                                        <p:tav tm="0">
                                          <p:val>
                                            <p:strVal val="#ppt_x"/>
                                          </p:val>
                                        </p:tav>
                                        <p:tav tm="100000">
                                          <p:val>
                                            <p:strVal val="#ppt_x"/>
                                          </p:val>
                                        </p:tav>
                                      </p:tavLst>
                                    </p:anim>
                                    <p:anim calcmode="lin" valueType="num">
                                      <p:cBhvr additive="base">
                                        <p:cTn id="48" dur="500" fill="hold"/>
                                        <p:tgtEl>
                                          <p:spTgt spid="31"/>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 calcmode="lin" valueType="num">
                                      <p:cBhvr additive="base">
                                        <p:cTn id="51" dur="500" fill="hold"/>
                                        <p:tgtEl>
                                          <p:spTgt spid="30"/>
                                        </p:tgtEl>
                                        <p:attrNameLst>
                                          <p:attrName>ppt_x</p:attrName>
                                        </p:attrNameLst>
                                      </p:cBhvr>
                                      <p:tavLst>
                                        <p:tav tm="0">
                                          <p:val>
                                            <p:strVal val="#ppt_x"/>
                                          </p:val>
                                        </p:tav>
                                        <p:tav tm="100000">
                                          <p:val>
                                            <p:strVal val="#ppt_x"/>
                                          </p:val>
                                        </p:tav>
                                      </p:tavLst>
                                    </p:anim>
                                    <p:anim calcmode="lin" valueType="num">
                                      <p:cBhvr additive="base">
                                        <p:cTn id="5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3"/>
                                        </p:tgtEl>
                                        <p:attrNameLst>
                                          <p:attrName>style.visibility</p:attrName>
                                        </p:attrNameLst>
                                      </p:cBhvr>
                                      <p:to>
                                        <p:strVal val="visible"/>
                                      </p:to>
                                    </p:set>
                                    <p:anim calcmode="lin" valueType="num">
                                      <p:cBhvr additive="base">
                                        <p:cTn id="57" dur="500" fill="hold"/>
                                        <p:tgtEl>
                                          <p:spTgt spid="33"/>
                                        </p:tgtEl>
                                        <p:attrNameLst>
                                          <p:attrName>ppt_x</p:attrName>
                                        </p:attrNameLst>
                                      </p:cBhvr>
                                      <p:tavLst>
                                        <p:tav tm="0">
                                          <p:val>
                                            <p:strVal val="#ppt_x"/>
                                          </p:val>
                                        </p:tav>
                                        <p:tav tm="100000">
                                          <p:val>
                                            <p:strVal val="#ppt_x"/>
                                          </p:val>
                                        </p:tav>
                                      </p:tavLst>
                                    </p:anim>
                                    <p:anim calcmode="lin" valueType="num">
                                      <p:cBhvr additive="base">
                                        <p:cTn id="58" dur="500" fill="hold"/>
                                        <p:tgtEl>
                                          <p:spTgt spid="33"/>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32"/>
                                        </p:tgtEl>
                                        <p:attrNameLst>
                                          <p:attrName>style.visibility</p:attrName>
                                        </p:attrNameLst>
                                      </p:cBhvr>
                                      <p:to>
                                        <p:strVal val="visible"/>
                                      </p:to>
                                    </p:set>
                                    <p:anim calcmode="lin" valueType="num">
                                      <p:cBhvr additive="base">
                                        <p:cTn id="61" dur="500" fill="hold"/>
                                        <p:tgtEl>
                                          <p:spTgt spid="32"/>
                                        </p:tgtEl>
                                        <p:attrNameLst>
                                          <p:attrName>ppt_x</p:attrName>
                                        </p:attrNameLst>
                                      </p:cBhvr>
                                      <p:tavLst>
                                        <p:tav tm="0">
                                          <p:val>
                                            <p:strVal val="#ppt_x"/>
                                          </p:val>
                                        </p:tav>
                                        <p:tav tm="100000">
                                          <p:val>
                                            <p:strVal val="#ppt_x"/>
                                          </p:val>
                                        </p:tav>
                                      </p:tavLst>
                                    </p:anim>
                                    <p:anim calcmode="lin" valueType="num">
                                      <p:cBhvr additive="base">
                                        <p:cTn id="62"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6" grpId="0" animBg="1"/>
      <p:bldP spid="21"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BFBBED81-356D-264F-9116-9E6DBE664B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BFBBED81-356D-264F-9116-9E6DBE664B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D96FB52F-AA6B-7D41-8998-6E36FA259627}"/>
              </a:ext>
            </a:extLst>
          </p:cNvPr>
          <p:cNvSpPr>
            <a:spLocks noGrp="1"/>
          </p:cNvSpPr>
          <p:nvPr>
            <p:ph type="title"/>
          </p:nvPr>
        </p:nvSpPr>
        <p:spPr/>
        <p:txBody>
          <a:bodyPr vert="horz" anchor="b"/>
          <a:lstStyle/>
          <a:p>
            <a:pPr>
              <a:lnSpc>
                <a:spcPct val="80000"/>
              </a:lnSpc>
            </a:pPr>
            <a:r>
              <a:rPr lang="es-ES" sz="2800" dirty="0"/>
              <a:t>El contexto de tasas de interés agrega desafíos a la inversión</a:t>
            </a:r>
            <a:endParaRPr lang="en-US" sz="2800" dirty="0"/>
          </a:p>
        </p:txBody>
      </p:sp>
      <p:sp>
        <p:nvSpPr>
          <p:cNvPr id="12" name="Marcador de texto 11">
            <a:extLst>
              <a:ext uri="{FF2B5EF4-FFF2-40B4-BE49-F238E27FC236}">
                <a16:creationId xmlns:a16="http://schemas.microsoft.com/office/drawing/2014/main" id="{384A512A-5049-C449-BF74-A05A567A922A}"/>
              </a:ext>
            </a:extLst>
          </p:cNvPr>
          <p:cNvSpPr>
            <a:spLocks noGrp="1"/>
          </p:cNvSpPr>
          <p:nvPr>
            <p:ph type="body" sz="quarter" idx="13"/>
          </p:nvPr>
        </p:nvSpPr>
        <p:spPr/>
        <p:txBody>
          <a:bodyPr/>
          <a:lstStyle/>
          <a:p>
            <a:r>
              <a:rPr lang="en-US" dirty="0"/>
              <a:t>Las </a:t>
            </a:r>
            <a:r>
              <a:rPr lang="en-US" dirty="0" err="1"/>
              <a:t>tasas</a:t>
            </a:r>
            <a:r>
              <a:rPr lang="en-US" dirty="0"/>
              <a:t> de </a:t>
            </a:r>
            <a:r>
              <a:rPr lang="en-US" dirty="0" err="1"/>
              <a:t>interés</a:t>
            </a:r>
            <a:r>
              <a:rPr lang="en-US" dirty="0"/>
              <a:t> </a:t>
            </a:r>
            <a:r>
              <a:rPr lang="en-US" dirty="0" err="1"/>
              <a:t>podrían</a:t>
            </a:r>
            <a:r>
              <a:rPr lang="en-US" dirty="0"/>
              <a:t> </a:t>
            </a:r>
            <a:r>
              <a:rPr lang="en-US" dirty="0" err="1"/>
              <a:t>mantenerse</a:t>
            </a:r>
            <a:r>
              <a:rPr lang="en-US" dirty="0"/>
              <a:t> </a:t>
            </a:r>
            <a:r>
              <a:rPr lang="en-US" dirty="0" err="1"/>
              <a:t>en</a:t>
            </a:r>
            <a:r>
              <a:rPr lang="en-US" dirty="0"/>
              <a:t> </a:t>
            </a:r>
            <a:r>
              <a:rPr lang="en-US" dirty="0" err="1"/>
              <a:t>el</a:t>
            </a:r>
            <a:r>
              <a:rPr lang="en-US" dirty="0"/>
              <a:t> </a:t>
            </a:r>
            <a:r>
              <a:rPr lang="en-US" dirty="0" err="1"/>
              <a:t>margen</a:t>
            </a:r>
            <a:r>
              <a:rPr lang="en-US" dirty="0"/>
              <a:t> superior del </a:t>
            </a:r>
            <a:r>
              <a:rPr lang="en-US" dirty="0" err="1"/>
              <a:t>rango</a:t>
            </a:r>
            <a:r>
              <a:rPr lang="en-US" dirty="0"/>
              <a:t> de </a:t>
            </a:r>
            <a:r>
              <a:rPr lang="en-US" dirty="0" err="1"/>
              <a:t>los</a:t>
            </a:r>
            <a:r>
              <a:rPr lang="en-US" dirty="0"/>
              <a:t> </a:t>
            </a:r>
            <a:r>
              <a:rPr lang="en-US" dirty="0" err="1"/>
              <a:t>últimos</a:t>
            </a:r>
            <a:r>
              <a:rPr lang="en-US" dirty="0"/>
              <a:t> 15 </a:t>
            </a:r>
            <a:r>
              <a:rPr lang="en-US" dirty="0" err="1"/>
              <a:t>años</a:t>
            </a:r>
            <a:endParaRPr lang="en-US" dirty="0"/>
          </a:p>
        </p:txBody>
      </p:sp>
      <p:sp>
        <p:nvSpPr>
          <p:cNvPr id="13" name="Marcador de texto 12">
            <a:extLst>
              <a:ext uri="{FF2B5EF4-FFF2-40B4-BE49-F238E27FC236}">
                <a16:creationId xmlns:a16="http://schemas.microsoft.com/office/drawing/2014/main" id="{4F6EE2C8-F438-DA4B-85E5-50DF325DE3D1}"/>
              </a:ext>
            </a:extLst>
          </p:cNvPr>
          <p:cNvSpPr>
            <a:spLocks noGrp="1"/>
          </p:cNvSpPr>
          <p:nvPr>
            <p:ph type="body" sz="quarter" idx="14"/>
          </p:nvPr>
        </p:nvSpPr>
        <p:spPr>
          <a:solidFill>
            <a:schemeClr val="accent1"/>
          </a:solidFill>
          <a:ln>
            <a:noFill/>
          </a:ln>
        </p:spPr>
        <p:txBody>
          <a:bodyPr/>
          <a:lstStyle/>
          <a:p>
            <a:endParaRPr lang="en-US" dirty="0"/>
          </a:p>
        </p:txBody>
      </p:sp>
      <p:sp>
        <p:nvSpPr>
          <p:cNvPr id="8" name="Marcador de número de diapositiva 7">
            <a:extLst>
              <a:ext uri="{FF2B5EF4-FFF2-40B4-BE49-F238E27FC236}">
                <a16:creationId xmlns:a16="http://schemas.microsoft.com/office/drawing/2014/main" id="{9F114160-19C7-2948-AEC7-4FFE886AFDF4}"/>
              </a:ext>
            </a:extLst>
          </p:cNvPr>
          <p:cNvSpPr>
            <a:spLocks noGrp="1"/>
          </p:cNvSpPr>
          <p:nvPr>
            <p:ph type="sldNum" sz="quarter" idx="17"/>
          </p:nvPr>
        </p:nvSpPr>
        <p:spPr/>
        <p:txBody>
          <a:bodyPr/>
          <a:lstStyle/>
          <a:p>
            <a:fld id="{9F427BA5-3988-40EC-8E11-9F7B5510E66B}" type="slidenum">
              <a:rPr lang="en-GB" smtClean="0"/>
              <a:pPr/>
              <a:t>6</a:t>
            </a:fld>
            <a:endParaRPr lang="en-GB"/>
          </a:p>
        </p:txBody>
      </p:sp>
      <p:sp>
        <p:nvSpPr>
          <p:cNvPr id="14" name="Marcador de texto 13">
            <a:extLst>
              <a:ext uri="{FF2B5EF4-FFF2-40B4-BE49-F238E27FC236}">
                <a16:creationId xmlns:a16="http://schemas.microsoft.com/office/drawing/2014/main" id="{F7B8DD8E-811A-C146-B2A5-0EAF986EE3BA}"/>
              </a:ext>
            </a:extLst>
          </p:cNvPr>
          <p:cNvSpPr>
            <a:spLocks noGrp="1"/>
          </p:cNvSpPr>
          <p:nvPr>
            <p:ph type="body" sz="quarter" idx="18"/>
          </p:nvPr>
        </p:nvSpPr>
        <p:spPr/>
        <p:txBody>
          <a:bodyPr/>
          <a:lstStyle/>
          <a:p>
            <a:endParaRPr lang="en-US" dirty="0"/>
          </a:p>
        </p:txBody>
      </p:sp>
      <p:grpSp>
        <p:nvGrpSpPr>
          <p:cNvPr id="20" name="Grupo 19">
            <a:extLst>
              <a:ext uri="{FF2B5EF4-FFF2-40B4-BE49-F238E27FC236}">
                <a16:creationId xmlns:a16="http://schemas.microsoft.com/office/drawing/2014/main" id="{E9753CB4-B824-42A4-8DF1-BCAA0AE1B130}"/>
              </a:ext>
            </a:extLst>
          </p:cNvPr>
          <p:cNvGrpSpPr/>
          <p:nvPr/>
        </p:nvGrpSpPr>
        <p:grpSpPr>
          <a:xfrm>
            <a:off x="420299" y="1832958"/>
            <a:ext cx="11289920" cy="382764"/>
            <a:chOff x="420299" y="1832958"/>
            <a:chExt cx="2259401" cy="382764"/>
          </a:xfrm>
        </p:grpSpPr>
        <p:cxnSp>
          <p:nvCxnSpPr>
            <p:cNvPr id="23" name="Straight Connector 18">
              <a:extLst>
                <a:ext uri="{FF2B5EF4-FFF2-40B4-BE49-F238E27FC236}">
                  <a16:creationId xmlns:a16="http://schemas.microsoft.com/office/drawing/2014/main" id="{1EBBE70B-4691-4A33-8AC3-1275D647E9CE}"/>
                </a:ext>
              </a:extLst>
            </p:cNvPr>
            <p:cNvCxnSpPr>
              <a:cxnSpLocks/>
            </p:cNvCxnSpPr>
            <p:nvPr/>
          </p:nvCxnSpPr>
          <p:spPr>
            <a:xfrm>
              <a:off x="420299" y="2215722"/>
              <a:ext cx="2259401" cy="0"/>
            </a:xfrm>
            <a:prstGeom prst="line">
              <a:avLst/>
            </a:prstGeom>
            <a:ln w="12700">
              <a:gradFill>
                <a:gsLst>
                  <a:gs pos="0">
                    <a:schemeClr val="accent5"/>
                  </a:gs>
                  <a:gs pos="100000">
                    <a:schemeClr val="accent1"/>
                  </a:gs>
                </a:gsLst>
                <a:lin ang="12000000" scaled="0"/>
              </a:gradFill>
            </a:ln>
          </p:spPr>
          <p:style>
            <a:lnRef idx="1">
              <a:schemeClr val="accent1"/>
            </a:lnRef>
            <a:fillRef idx="0">
              <a:schemeClr val="accent1"/>
            </a:fillRef>
            <a:effectRef idx="0">
              <a:schemeClr val="accent1"/>
            </a:effectRef>
            <a:fontRef idx="minor">
              <a:schemeClr val="tx1"/>
            </a:fontRef>
          </p:style>
        </p:cxnSp>
        <p:sp>
          <p:nvSpPr>
            <p:cNvPr id="24" name="TextBox 3">
              <a:extLst>
                <a:ext uri="{FF2B5EF4-FFF2-40B4-BE49-F238E27FC236}">
                  <a16:creationId xmlns:a16="http://schemas.microsoft.com/office/drawing/2014/main" id="{40E2417D-0566-49FC-BCF5-B1A614C05260}"/>
                </a:ext>
              </a:extLst>
            </p:cNvPr>
            <p:cNvSpPr txBox="1"/>
            <p:nvPr/>
          </p:nvSpPr>
          <p:spPr>
            <a:xfrm>
              <a:off x="420299" y="1832958"/>
              <a:ext cx="2259401" cy="369332"/>
            </a:xfrm>
            <a:prstGeom prst="rect">
              <a:avLst/>
            </a:prstGeom>
            <a:noFill/>
          </p:spPr>
          <p:txBody>
            <a:bodyPr wrap="square" lIns="0" rtlCol="0">
              <a:spAutoFit/>
            </a:bodyPr>
            <a:lstStyle/>
            <a:p>
              <a:r>
                <a:rPr lang="es-ES_tradnl" b="1" dirty="0">
                  <a:solidFill>
                    <a:schemeClr val="accent3"/>
                  </a:solidFill>
                  <a:latin typeface="Poppins" pitchFamily="2" charset="77"/>
                  <a:cs typeface="Poppins" pitchFamily="2" charset="77"/>
                </a:rPr>
                <a:t>Evolución de la Tasa del Tesoro Americano a 10 años de plazo</a:t>
              </a:r>
            </a:p>
          </p:txBody>
        </p:sp>
      </p:grpSp>
      <p:graphicFrame>
        <p:nvGraphicFramePr>
          <p:cNvPr id="15" name="Gráfico 13">
            <a:extLst>
              <a:ext uri="{FF2B5EF4-FFF2-40B4-BE49-F238E27FC236}">
                <a16:creationId xmlns:a16="http://schemas.microsoft.com/office/drawing/2014/main" id="{9E6DBCA2-00E9-4845-A6F7-9645275AAC98}"/>
              </a:ext>
            </a:extLst>
          </p:cNvPr>
          <p:cNvGraphicFramePr/>
          <p:nvPr>
            <p:extLst>
              <p:ext uri="{D42A27DB-BD31-4B8C-83A1-F6EECF244321}">
                <p14:modId xmlns:p14="http://schemas.microsoft.com/office/powerpoint/2010/main" val="652089311"/>
              </p:ext>
            </p:extLst>
          </p:nvPr>
        </p:nvGraphicFramePr>
        <p:xfrm>
          <a:off x="342900" y="2372395"/>
          <a:ext cx="11225098" cy="386489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411938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BFBBED81-356D-264F-9116-9E6DBE664B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BFBBED81-356D-264F-9116-9E6DBE664B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D96FB52F-AA6B-7D41-8998-6E36FA259627}"/>
              </a:ext>
            </a:extLst>
          </p:cNvPr>
          <p:cNvSpPr>
            <a:spLocks noGrp="1"/>
          </p:cNvSpPr>
          <p:nvPr>
            <p:ph type="title"/>
          </p:nvPr>
        </p:nvSpPr>
        <p:spPr/>
        <p:txBody>
          <a:bodyPr vert="horz" anchor="b"/>
          <a:lstStyle/>
          <a:p>
            <a:pPr>
              <a:lnSpc>
                <a:spcPct val="80000"/>
              </a:lnSpc>
            </a:pPr>
            <a:r>
              <a:rPr lang="es-ES_tradnl" dirty="0"/>
              <a:t>Un sector con tracción limitada en los portafolios globales</a:t>
            </a:r>
            <a:endParaRPr lang="en-US" sz="2800" dirty="0"/>
          </a:p>
        </p:txBody>
      </p:sp>
      <p:sp>
        <p:nvSpPr>
          <p:cNvPr id="12" name="Marcador de texto 11">
            <a:extLst>
              <a:ext uri="{FF2B5EF4-FFF2-40B4-BE49-F238E27FC236}">
                <a16:creationId xmlns:a16="http://schemas.microsoft.com/office/drawing/2014/main" id="{384A512A-5049-C449-BF74-A05A567A922A}"/>
              </a:ext>
            </a:extLst>
          </p:cNvPr>
          <p:cNvSpPr>
            <a:spLocks noGrp="1"/>
          </p:cNvSpPr>
          <p:nvPr>
            <p:ph type="body" sz="quarter" idx="13"/>
          </p:nvPr>
        </p:nvSpPr>
        <p:spPr/>
        <p:txBody>
          <a:bodyPr/>
          <a:lstStyle/>
          <a:p>
            <a:r>
              <a:rPr lang="es-ES_tradnl" dirty="0"/>
              <a:t>Un cambio en el paradigma financiero de la industria de petróleo y gas</a:t>
            </a:r>
          </a:p>
          <a:p>
            <a:endParaRPr lang="en-US" dirty="0"/>
          </a:p>
        </p:txBody>
      </p:sp>
      <p:sp>
        <p:nvSpPr>
          <p:cNvPr id="13" name="Marcador de texto 12">
            <a:extLst>
              <a:ext uri="{FF2B5EF4-FFF2-40B4-BE49-F238E27FC236}">
                <a16:creationId xmlns:a16="http://schemas.microsoft.com/office/drawing/2014/main" id="{4F6EE2C8-F438-DA4B-85E5-50DF325DE3D1}"/>
              </a:ext>
            </a:extLst>
          </p:cNvPr>
          <p:cNvSpPr>
            <a:spLocks noGrp="1"/>
          </p:cNvSpPr>
          <p:nvPr>
            <p:ph type="body" sz="quarter" idx="14"/>
          </p:nvPr>
        </p:nvSpPr>
        <p:spPr>
          <a:solidFill>
            <a:schemeClr val="accent1"/>
          </a:solidFill>
          <a:ln>
            <a:noFill/>
          </a:ln>
        </p:spPr>
        <p:txBody>
          <a:bodyPr/>
          <a:lstStyle/>
          <a:p>
            <a:endParaRPr lang="en-US" dirty="0"/>
          </a:p>
        </p:txBody>
      </p:sp>
      <p:sp>
        <p:nvSpPr>
          <p:cNvPr id="8" name="Marcador de número de diapositiva 7">
            <a:extLst>
              <a:ext uri="{FF2B5EF4-FFF2-40B4-BE49-F238E27FC236}">
                <a16:creationId xmlns:a16="http://schemas.microsoft.com/office/drawing/2014/main" id="{9F114160-19C7-2948-AEC7-4FFE886AFDF4}"/>
              </a:ext>
            </a:extLst>
          </p:cNvPr>
          <p:cNvSpPr>
            <a:spLocks noGrp="1"/>
          </p:cNvSpPr>
          <p:nvPr>
            <p:ph type="sldNum" sz="quarter" idx="17"/>
          </p:nvPr>
        </p:nvSpPr>
        <p:spPr/>
        <p:txBody>
          <a:bodyPr/>
          <a:lstStyle/>
          <a:p>
            <a:fld id="{9F427BA5-3988-40EC-8E11-9F7B5510E66B}" type="slidenum">
              <a:rPr lang="en-GB" smtClean="0"/>
              <a:pPr/>
              <a:t>7</a:t>
            </a:fld>
            <a:endParaRPr lang="en-GB"/>
          </a:p>
        </p:txBody>
      </p:sp>
      <p:sp>
        <p:nvSpPr>
          <p:cNvPr id="14" name="Marcador de texto 13">
            <a:extLst>
              <a:ext uri="{FF2B5EF4-FFF2-40B4-BE49-F238E27FC236}">
                <a16:creationId xmlns:a16="http://schemas.microsoft.com/office/drawing/2014/main" id="{F7B8DD8E-811A-C146-B2A5-0EAF986EE3BA}"/>
              </a:ext>
            </a:extLst>
          </p:cNvPr>
          <p:cNvSpPr>
            <a:spLocks noGrp="1"/>
          </p:cNvSpPr>
          <p:nvPr>
            <p:ph type="body" sz="quarter" idx="18"/>
          </p:nvPr>
        </p:nvSpPr>
        <p:spPr/>
        <p:txBody>
          <a:bodyPr/>
          <a:lstStyle/>
          <a:p>
            <a:endParaRPr lang="en-US" dirty="0"/>
          </a:p>
        </p:txBody>
      </p:sp>
      <p:grpSp>
        <p:nvGrpSpPr>
          <p:cNvPr id="20" name="Grupo 19">
            <a:extLst>
              <a:ext uri="{FF2B5EF4-FFF2-40B4-BE49-F238E27FC236}">
                <a16:creationId xmlns:a16="http://schemas.microsoft.com/office/drawing/2014/main" id="{E9753CB4-B824-42A4-8DF1-BCAA0AE1B130}"/>
              </a:ext>
            </a:extLst>
          </p:cNvPr>
          <p:cNvGrpSpPr/>
          <p:nvPr/>
        </p:nvGrpSpPr>
        <p:grpSpPr>
          <a:xfrm>
            <a:off x="420299" y="1832958"/>
            <a:ext cx="11289920" cy="382764"/>
            <a:chOff x="420299" y="1832958"/>
            <a:chExt cx="2259401" cy="382764"/>
          </a:xfrm>
        </p:grpSpPr>
        <p:cxnSp>
          <p:nvCxnSpPr>
            <p:cNvPr id="23" name="Straight Connector 18">
              <a:extLst>
                <a:ext uri="{FF2B5EF4-FFF2-40B4-BE49-F238E27FC236}">
                  <a16:creationId xmlns:a16="http://schemas.microsoft.com/office/drawing/2014/main" id="{1EBBE70B-4691-4A33-8AC3-1275D647E9CE}"/>
                </a:ext>
              </a:extLst>
            </p:cNvPr>
            <p:cNvCxnSpPr>
              <a:cxnSpLocks/>
            </p:cNvCxnSpPr>
            <p:nvPr/>
          </p:nvCxnSpPr>
          <p:spPr>
            <a:xfrm>
              <a:off x="420299" y="2215722"/>
              <a:ext cx="2259401" cy="0"/>
            </a:xfrm>
            <a:prstGeom prst="line">
              <a:avLst/>
            </a:prstGeom>
            <a:ln w="12700">
              <a:gradFill>
                <a:gsLst>
                  <a:gs pos="0">
                    <a:schemeClr val="accent5"/>
                  </a:gs>
                  <a:gs pos="100000">
                    <a:schemeClr val="accent1"/>
                  </a:gs>
                </a:gsLst>
                <a:lin ang="12000000" scaled="0"/>
              </a:gradFill>
            </a:ln>
          </p:spPr>
          <p:style>
            <a:lnRef idx="1">
              <a:schemeClr val="accent1"/>
            </a:lnRef>
            <a:fillRef idx="0">
              <a:schemeClr val="accent1"/>
            </a:fillRef>
            <a:effectRef idx="0">
              <a:schemeClr val="accent1"/>
            </a:effectRef>
            <a:fontRef idx="minor">
              <a:schemeClr val="tx1"/>
            </a:fontRef>
          </p:style>
        </p:cxnSp>
        <p:sp>
          <p:nvSpPr>
            <p:cNvPr id="24" name="TextBox 3">
              <a:extLst>
                <a:ext uri="{FF2B5EF4-FFF2-40B4-BE49-F238E27FC236}">
                  <a16:creationId xmlns:a16="http://schemas.microsoft.com/office/drawing/2014/main" id="{40E2417D-0566-49FC-BCF5-B1A614C05260}"/>
                </a:ext>
              </a:extLst>
            </p:cNvPr>
            <p:cNvSpPr txBox="1"/>
            <p:nvPr/>
          </p:nvSpPr>
          <p:spPr>
            <a:xfrm>
              <a:off x="420299" y="1832958"/>
              <a:ext cx="2259401" cy="369332"/>
            </a:xfrm>
            <a:prstGeom prst="rect">
              <a:avLst/>
            </a:prstGeom>
            <a:noFill/>
          </p:spPr>
          <p:txBody>
            <a:bodyPr wrap="square" lIns="0" rtlCol="0">
              <a:spAutoFit/>
            </a:bodyPr>
            <a:lstStyle/>
            <a:p>
              <a:r>
                <a:rPr lang="es-ES_tradnl" b="1" dirty="0">
                  <a:solidFill>
                    <a:schemeClr val="accent3"/>
                  </a:solidFill>
                  <a:latin typeface="Poppins" pitchFamily="2" charset="77"/>
                  <a:cs typeface="Poppins" pitchFamily="2" charset="77"/>
                </a:rPr>
                <a:t>Retorno luego de 10 años de permanencia en la inversión</a:t>
              </a:r>
            </a:p>
          </p:txBody>
        </p:sp>
      </p:grpSp>
      <p:graphicFrame>
        <p:nvGraphicFramePr>
          <p:cNvPr id="15" name="Gráfico 13">
            <a:extLst>
              <a:ext uri="{FF2B5EF4-FFF2-40B4-BE49-F238E27FC236}">
                <a16:creationId xmlns:a16="http://schemas.microsoft.com/office/drawing/2014/main" id="{9E6DBCA2-00E9-4845-A6F7-9645275AAC98}"/>
              </a:ext>
            </a:extLst>
          </p:cNvPr>
          <p:cNvGraphicFramePr/>
          <p:nvPr>
            <p:extLst>
              <p:ext uri="{D42A27DB-BD31-4B8C-83A1-F6EECF244321}">
                <p14:modId xmlns:p14="http://schemas.microsoft.com/office/powerpoint/2010/main" val="2392758300"/>
              </p:ext>
            </p:extLst>
          </p:nvPr>
        </p:nvGraphicFramePr>
        <p:xfrm>
          <a:off x="342899" y="2372394"/>
          <a:ext cx="11367319" cy="387831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87726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55">
            <a:extLst>
              <a:ext uri="{FF2B5EF4-FFF2-40B4-BE49-F238E27FC236}">
                <a16:creationId xmlns:a16="http://schemas.microsoft.com/office/drawing/2014/main" id="{9ABC7451-DCB3-9448-900C-D3640F77187E}"/>
              </a:ext>
            </a:extLst>
          </p:cNvPr>
          <p:cNvSpPr/>
          <p:nvPr/>
        </p:nvSpPr>
        <p:spPr>
          <a:xfrm>
            <a:off x="6227719" y="1640077"/>
            <a:ext cx="5654021" cy="4596355"/>
          </a:xfrm>
          <a:prstGeom prst="rect">
            <a:avLst/>
          </a:prstGeom>
          <a:solidFill>
            <a:schemeClr val="bg1"/>
          </a:solidFill>
          <a:ln>
            <a:noFill/>
          </a:ln>
          <a:effectLst>
            <a:outerShdw blurRad="495300" dist="304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2" name="Title 1">
            <a:extLst>
              <a:ext uri="{FF2B5EF4-FFF2-40B4-BE49-F238E27FC236}">
                <a16:creationId xmlns:a16="http://schemas.microsoft.com/office/drawing/2014/main" id="{01658A1A-C188-C94A-8679-FA8521BFB2AE}"/>
              </a:ext>
            </a:extLst>
          </p:cNvPr>
          <p:cNvSpPr>
            <a:spLocks noGrp="1"/>
          </p:cNvSpPr>
          <p:nvPr>
            <p:ph type="title"/>
          </p:nvPr>
        </p:nvSpPr>
        <p:spPr/>
        <p:txBody>
          <a:bodyPr/>
          <a:lstStyle/>
          <a:p>
            <a:r>
              <a:rPr lang="es-ES" dirty="0"/>
              <a:t>Productores regionales se adaptan para competir por capital</a:t>
            </a:r>
            <a:endParaRPr lang="en-AR" dirty="0"/>
          </a:p>
        </p:txBody>
      </p:sp>
      <p:sp>
        <p:nvSpPr>
          <p:cNvPr id="4" name="Text Placeholder 3">
            <a:extLst>
              <a:ext uri="{FF2B5EF4-FFF2-40B4-BE49-F238E27FC236}">
                <a16:creationId xmlns:a16="http://schemas.microsoft.com/office/drawing/2014/main" id="{E8E8F09A-427A-3B45-89D6-E7534DBA4F35}"/>
              </a:ext>
            </a:extLst>
          </p:cNvPr>
          <p:cNvSpPr>
            <a:spLocks noGrp="1"/>
          </p:cNvSpPr>
          <p:nvPr>
            <p:ph type="body" sz="quarter" idx="13"/>
          </p:nvPr>
        </p:nvSpPr>
        <p:spPr/>
        <p:txBody>
          <a:bodyPr/>
          <a:lstStyle/>
          <a:p>
            <a:r>
              <a:rPr lang="es-ES_tradnl" dirty="0"/>
              <a:t>Mayores exigencias de los accionistas</a:t>
            </a:r>
          </a:p>
        </p:txBody>
      </p:sp>
      <p:sp>
        <p:nvSpPr>
          <p:cNvPr id="5" name="Text Placeholder 4">
            <a:extLst>
              <a:ext uri="{FF2B5EF4-FFF2-40B4-BE49-F238E27FC236}">
                <a16:creationId xmlns:a16="http://schemas.microsoft.com/office/drawing/2014/main" id="{82BA354A-E3CF-F948-BB99-DE1F53DDC922}"/>
              </a:ext>
            </a:extLst>
          </p:cNvPr>
          <p:cNvSpPr>
            <a:spLocks noGrp="1"/>
          </p:cNvSpPr>
          <p:nvPr>
            <p:ph type="body" sz="quarter" idx="14"/>
          </p:nvPr>
        </p:nvSpPr>
        <p:spPr/>
        <p:txBody>
          <a:bodyPr/>
          <a:lstStyle/>
          <a:p>
            <a:endParaRPr lang="en-AR"/>
          </a:p>
        </p:txBody>
      </p:sp>
      <p:sp>
        <p:nvSpPr>
          <p:cNvPr id="6" name="Slide Number Placeholder 5">
            <a:extLst>
              <a:ext uri="{FF2B5EF4-FFF2-40B4-BE49-F238E27FC236}">
                <a16:creationId xmlns:a16="http://schemas.microsoft.com/office/drawing/2014/main" id="{6A9C5B5D-EDDF-B540-9181-719A37CD20BC}"/>
              </a:ext>
            </a:extLst>
          </p:cNvPr>
          <p:cNvSpPr>
            <a:spLocks noGrp="1"/>
          </p:cNvSpPr>
          <p:nvPr>
            <p:ph type="sldNum" sz="quarter" idx="17"/>
          </p:nvPr>
        </p:nvSpPr>
        <p:spPr/>
        <p:txBody>
          <a:bodyPr/>
          <a:lstStyle/>
          <a:p>
            <a:fld id="{9F427BA5-3988-40EC-8E11-9F7B5510E66B}" type="slidenum">
              <a:rPr lang="en-GB" smtClean="0"/>
              <a:pPr/>
              <a:t>8</a:t>
            </a:fld>
            <a:endParaRPr lang="en-GB"/>
          </a:p>
        </p:txBody>
      </p:sp>
      <p:sp>
        <p:nvSpPr>
          <p:cNvPr id="8" name="Rectangle 55">
            <a:extLst>
              <a:ext uri="{FF2B5EF4-FFF2-40B4-BE49-F238E27FC236}">
                <a16:creationId xmlns:a16="http://schemas.microsoft.com/office/drawing/2014/main" id="{2ACBC2F0-A2AA-1C40-B9FE-A8B87590A07F}"/>
              </a:ext>
            </a:extLst>
          </p:cNvPr>
          <p:cNvSpPr/>
          <p:nvPr/>
        </p:nvSpPr>
        <p:spPr>
          <a:xfrm>
            <a:off x="354133" y="1640933"/>
            <a:ext cx="5654021" cy="4596355"/>
          </a:xfrm>
          <a:prstGeom prst="rect">
            <a:avLst/>
          </a:prstGeom>
          <a:solidFill>
            <a:schemeClr val="bg1"/>
          </a:solidFill>
          <a:ln>
            <a:noFill/>
          </a:ln>
          <a:effectLst>
            <a:outerShdw blurRad="495300" dist="304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grpSp>
        <p:nvGrpSpPr>
          <p:cNvPr id="7" name="Grupo 19">
            <a:extLst>
              <a:ext uri="{FF2B5EF4-FFF2-40B4-BE49-F238E27FC236}">
                <a16:creationId xmlns:a16="http://schemas.microsoft.com/office/drawing/2014/main" id="{B2B588D8-3D57-BD4D-D1AC-3320BC054B14}"/>
              </a:ext>
            </a:extLst>
          </p:cNvPr>
          <p:cNvGrpSpPr/>
          <p:nvPr/>
        </p:nvGrpSpPr>
        <p:grpSpPr>
          <a:xfrm>
            <a:off x="420299" y="1832958"/>
            <a:ext cx="5587855" cy="382764"/>
            <a:chOff x="420299" y="1832958"/>
            <a:chExt cx="2259401" cy="382764"/>
          </a:xfrm>
        </p:grpSpPr>
        <p:cxnSp>
          <p:nvCxnSpPr>
            <p:cNvPr id="9" name="Straight Connector 18">
              <a:extLst>
                <a:ext uri="{FF2B5EF4-FFF2-40B4-BE49-F238E27FC236}">
                  <a16:creationId xmlns:a16="http://schemas.microsoft.com/office/drawing/2014/main" id="{871A8E96-B9BA-5CD4-1348-038C076BFD7F}"/>
                </a:ext>
              </a:extLst>
            </p:cNvPr>
            <p:cNvCxnSpPr>
              <a:cxnSpLocks/>
            </p:cNvCxnSpPr>
            <p:nvPr/>
          </p:nvCxnSpPr>
          <p:spPr>
            <a:xfrm>
              <a:off x="420299" y="2215722"/>
              <a:ext cx="2259401" cy="0"/>
            </a:xfrm>
            <a:prstGeom prst="line">
              <a:avLst/>
            </a:prstGeom>
            <a:ln w="12700">
              <a:gradFill>
                <a:gsLst>
                  <a:gs pos="0">
                    <a:schemeClr val="accent5"/>
                  </a:gs>
                  <a:gs pos="100000">
                    <a:schemeClr val="accent1"/>
                  </a:gs>
                </a:gsLst>
                <a:lin ang="12000000" scaled="0"/>
              </a:gradFill>
            </a:ln>
          </p:spPr>
          <p:style>
            <a:lnRef idx="1">
              <a:schemeClr val="accent1"/>
            </a:lnRef>
            <a:fillRef idx="0">
              <a:schemeClr val="accent1"/>
            </a:fillRef>
            <a:effectRef idx="0">
              <a:schemeClr val="accent1"/>
            </a:effectRef>
            <a:fontRef idx="minor">
              <a:schemeClr val="tx1"/>
            </a:fontRef>
          </p:style>
        </p:cxnSp>
        <p:sp>
          <p:nvSpPr>
            <p:cNvPr id="11" name="TextBox 3">
              <a:extLst>
                <a:ext uri="{FF2B5EF4-FFF2-40B4-BE49-F238E27FC236}">
                  <a16:creationId xmlns:a16="http://schemas.microsoft.com/office/drawing/2014/main" id="{F9125BF5-6296-BA1D-1ACE-2DAD9FDA6782}"/>
                </a:ext>
              </a:extLst>
            </p:cNvPr>
            <p:cNvSpPr txBox="1"/>
            <p:nvPr/>
          </p:nvSpPr>
          <p:spPr>
            <a:xfrm>
              <a:off x="420299" y="1832958"/>
              <a:ext cx="2259401" cy="369332"/>
            </a:xfrm>
            <a:prstGeom prst="rect">
              <a:avLst/>
            </a:prstGeom>
            <a:noFill/>
          </p:spPr>
          <p:txBody>
            <a:bodyPr wrap="square" lIns="0" rtlCol="0">
              <a:spAutoFit/>
            </a:bodyPr>
            <a:lstStyle/>
            <a:p>
              <a:r>
                <a:rPr lang="es-ES_tradnl" b="1" dirty="0">
                  <a:solidFill>
                    <a:schemeClr val="accent3"/>
                  </a:solidFill>
                  <a:latin typeface="Poppins" pitchFamily="2" charset="77"/>
                  <a:cs typeface="Poppins" pitchFamily="2" charset="77"/>
                </a:rPr>
                <a:t>Petrobras: Retorno anualizado de dividendos</a:t>
              </a:r>
            </a:p>
          </p:txBody>
        </p:sp>
      </p:grpSp>
      <p:graphicFrame>
        <p:nvGraphicFramePr>
          <p:cNvPr id="12" name="Gráfico 13">
            <a:extLst>
              <a:ext uri="{FF2B5EF4-FFF2-40B4-BE49-F238E27FC236}">
                <a16:creationId xmlns:a16="http://schemas.microsoft.com/office/drawing/2014/main" id="{63D5EBC9-7CEE-EEA3-AA03-D0B32DC20338}"/>
              </a:ext>
            </a:extLst>
          </p:cNvPr>
          <p:cNvGraphicFramePr/>
          <p:nvPr>
            <p:extLst>
              <p:ext uri="{D42A27DB-BD31-4B8C-83A1-F6EECF244321}">
                <p14:modId xmlns:p14="http://schemas.microsoft.com/office/powerpoint/2010/main" val="3223312689"/>
              </p:ext>
            </p:extLst>
          </p:nvPr>
        </p:nvGraphicFramePr>
        <p:xfrm>
          <a:off x="623998" y="2372394"/>
          <a:ext cx="5416645" cy="3864881"/>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3">
            <a:extLst>
              <a:ext uri="{FF2B5EF4-FFF2-40B4-BE49-F238E27FC236}">
                <a16:creationId xmlns:a16="http://schemas.microsoft.com/office/drawing/2014/main" id="{BBE29184-FE91-33B3-EB4C-A2AB06323D00}"/>
              </a:ext>
            </a:extLst>
          </p:cNvPr>
          <p:cNvSpPr txBox="1"/>
          <p:nvPr/>
        </p:nvSpPr>
        <p:spPr>
          <a:xfrm rot="16200000">
            <a:off x="-687209" y="3599046"/>
            <a:ext cx="2354342" cy="261610"/>
          </a:xfrm>
          <a:prstGeom prst="rect">
            <a:avLst/>
          </a:prstGeom>
          <a:noFill/>
        </p:spPr>
        <p:txBody>
          <a:bodyPr wrap="square" lIns="0" rtlCol="0">
            <a:spAutoFit/>
          </a:bodyPr>
          <a:lstStyle/>
          <a:p>
            <a:pPr algn="ctr"/>
            <a:r>
              <a:rPr lang="es-ES_tradnl" sz="1050" b="1" dirty="0">
                <a:solidFill>
                  <a:schemeClr val="tx2"/>
                </a:solidFill>
                <a:latin typeface="Open Sans" panose="020B0606030504020204" pitchFamily="34" charset="0"/>
                <a:ea typeface="Open Sans" panose="020B0606030504020204" pitchFamily="34" charset="0"/>
                <a:cs typeface="Open Sans" panose="020B0606030504020204" pitchFamily="34" charset="0"/>
              </a:rPr>
              <a:t>Rendimiento Anual</a:t>
            </a:r>
          </a:p>
        </p:txBody>
      </p:sp>
      <p:sp>
        <p:nvSpPr>
          <p:cNvPr id="15" name="Rectangle 55">
            <a:extLst>
              <a:ext uri="{FF2B5EF4-FFF2-40B4-BE49-F238E27FC236}">
                <a16:creationId xmlns:a16="http://schemas.microsoft.com/office/drawing/2014/main" id="{0ACB490D-5870-8616-19CA-E3ABD55423EC}"/>
              </a:ext>
            </a:extLst>
          </p:cNvPr>
          <p:cNvSpPr/>
          <p:nvPr/>
        </p:nvSpPr>
        <p:spPr>
          <a:xfrm>
            <a:off x="6223776" y="1640933"/>
            <a:ext cx="5654021" cy="4596355"/>
          </a:xfrm>
          <a:prstGeom prst="rect">
            <a:avLst/>
          </a:prstGeom>
          <a:solidFill>
            <a:schemeClr val="bg1"/>
          </a:solidFill>
          <a:ln>
            <a:noFill/>
          </a:ln>
          <a:effectLst>
            <a:outerShdw blurRad="495300" dist="304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grpSp>
        <p:nvGrpSpPr>
          <p:cNvPr id="16" name="Grupo 19">
            <a:extLst>
              <a:ext uri="{FF2B5EF4-FFF2-40B4-BE49-F238E27FC236}">
                <a16:creationId xmlns:a16="http://schemas.microsoft.com/office/drawing/2014/main" id="{CFC8C5C3-B72B-6BB6-121A-45DA58064CB4}"/>
              </a:ext>
            </a:extLst>
          </p:cNvPr>
          <p:cNvGrpSpPr/>
          <p:nvPr/>
        </p:nvGrpSpPr>
        <p:grpSpPr>
          <a:xfrm>
            <a:off x="6289942" y="1832958"/>
            <a:ext cx="5587855" cy="382764"/>
            <a:chOff x="420299" y="1832958"/>
            <a:chExt cx="2259401" cy="382764"/>
          </a:xfrm>
        </p:grpSpPr>
        <p:cxnSp>
          <p:nvCxnSpPr>
            <p:cNvPr id="17" name="Straight Connector 18">
              <a:extLst>
                <a:ext uri="{FF2B5EF4-FFF2-40B4-BE49-F238E27FC236}">
                  <a16:creationId xmlns:a16="http://schemas.microsoft.com/office/drawing/2014/main" id="{3D79E1D4-E439-BA12-F787-D9B904F1DC10}"/>
                </a:ext>
              </a:extLst>
            </p:cNvPr>
            <p:cNvCxnSpPr>
              <a:cxnSpLocks/>
            </p:cNvCxnSpPr>
            <p:nvPr/>
          </p:nvCxnSpPr>
          <p:spPr>
            <a:xfrm>
              <a:off x="420299" y="2215722"/>
              <a:ext cx="2259401" cy="0"/>
            </a:xfrm>
            <a:prstGeom prst="line">
              <a:avLst/>
            </a:prstGeom>
            <a:ln w="12700">
              <a:gradFill>
                <a:gsLst>
                  <a:gs pos="0">
                    <a:schemeClr val="accent5"/>
                  </a:gs>
                  <a:gs pos="100000">
                    <a:schemeClr val="accent1"/>
                  </a:gs>
                </a:gsLst>
                <a:lin ang="12000000" scaled="0"/>
              </a:gradFill>
            </a:ln>
          </p:spPr>
          <p:style>
            <a:lnRef idx="1">
              <a:schemeClr val="accent1"/>
            </a:lnRef>
            <a:fillRef idx="0">
              <a:schemeClr val="accent1"/>
            </a:fillRef>
            <a:effectRef idx="0">
              <a:schemeClr val="accent1"/>
            </a:effectRef>
            <a:fontRef idx="minor">
              <a:schemeClr val="tx1"/>
            </a:fontRef>
          </p:style>
        </p:cxnSp>
        <p:sp>
          <p:nvSpPr>
            <p:cNvPr id="18" name="TextBox 3">
              <a:extLst>
                <a:ext uri="{FF2B5EF4-FFF2-40B4-BE49-F238E27FC236}">
                  <a16:creationId xmlns:a16="http://schemas.microsoft.com/office/drawing/2014/main" id="{8E5E04EE-A4C4-BCE4-B06F-6B74CCB8DBB0}"/>
                </a:ext>
              </a:extLst>
            </p:cNvPr>
            <p:cNvSpPr txBox="1"/>
            <p:nvPr/>
          </p:nvSpPr>
          <p:spPr>
            <a:xfrm>
              <a:off x="420299" y="1832958"/>
              <a:ext cx="2259401" cy="369332"/>
            </a:xfrm>
            <a:prstGeom prst="rect">
              <a:avLst/>
            </a:prstGeom>
            <a:noFill/>
          </p:spPr>
          <p:txBody>
            <a:bodyPr wrap="square" lIns="0" rtlCol="0">
              <a:spAutoFit/>
            </a:bodyPr>
            <a:lstStyle/>
            <a:p>
              <a:r>
                <a:rPr lang="es-ES_tradnl" b="1" dirty="0">
                  <a:solidFill>
                    <a:schemeClr val="accent3"/>
                  </a:solidFill>
                  <a:latin typeface="Poppins" pitchFamily="2" charset="77"/>
                  <a:cs typeface="Poppins" pitchFamily="2" charset="77"/>
                </a:rPr>
                <a:t>Ecopetrol: Retorno anualizado de dividendos</a:t>
              </a:r>
            </a:p>
          </p:txBody>
        </p:sp>
      </p:grpSp>
      <p:graphicFrame>
        <p:nvGraphicFramePr>
          <p:cNvPr id="19" name="Gráfico 13">
            <a:extLst>
              <a:ext uri="{FF2B5EF4-FFF2-40B4-BE49-F238E27FC236}">
                <a16:creationId xmlns:a16="http://schemas.microsoft.com/office/drawing/2014/main" id="{B10EC066-84E9-9D29-3942-59C9919C2665}"/>
              </a:ext>
            </a:extLst>
          </p:cNvPr>
          <p:cNvGraphicFramePr/>
          <p:nvPr>
            <p:extLst>
              <p:ext uri="{D42A27DB-BD31-4B8C-83A1-F6EECF244321}">
                <p14:modId xmlns:p14="http://schemas.microsoft.com/office/powerpoint/2010/main" val="1066652056"/>
              </p:ext>
            </p:extLst>
          </p:nvPr>
        </p:nvGraphicFramePr>
        <p:xfrm>
          <a:off x="6493641" y="2372394"/>
          <a:ext cx="5416645" cy="3864881"/>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3">
            <a:extLst>
              <a:ext uri="{FF2B5EF4-FFF2-40B4-BE49-F238E27FC236}">
                <a16:creationId xmlns:a16="http://schemas.microsoft.com/office/drawing/2014/main" id="{8C9B1E9F-547B-F04C-CD5C-30FDBC4DE535}"/>
              </a:ext>
            </a:extLst>
          </p:cNvPr>
          <p:cNvSpPr txBox="1"/>
          <p:nvPr/>
        </p:nvSpPr>
        <p:spPr>
          <a:xfrm rot="16200000">
            <a:off x="5182434" y="3599046"/>
            <a:ext cx="2354342" cy="261610"/>
          </a:xfrm>
          <a:prstGeom prst="rect">
            <a:avLst/>
          </a:prstGeom>
          <a:noFill/>
        </p:spPr>
        <p:txBody>
          <a:bodyPr wrap="square" lIns="0" rtlCol="0">
            <a:spAutoFit/>
          </a:bodyPr>
          <a:lstStyle/>
          <a:p>
            <a:pPr algn="ctr"/>
            <a:r>
              <a:rPr lang="es-ES_tradnl" sz="1050" b="1" dirty="0">
                <a:solidFill>
                  <a:schemeClr val="tx2"/>
                </a:solidFill>
                <a:latin typeface="Open Sans" panose="020B0606030504020204" pitchFamily="34" charset="0"/>
                <a:ea typeface="Open Sans" panose="020B0606030504020204" pitchFamily="34" charset="0"/>
                <a:cs typeface="Open Sans" panose="020B0606030504020204" pitchFamily="34" charset="0"/>
              </a:rPr>
              <a:t>Rendimiento Anual</a:t>
            </a:r>
          </a:p>
        </p:txBody>
      </p:sp>
    </p:spTree>
    <p:extLst>
      <p:ext uri="{BB962C8B-B14F-4D97-AF65-F5344CB8AC3E}">
        <p14:creationId xmlns:p14="http://schemas.microsoft.com/office/powerpoint/2010/main" val="7447212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BFBBED81-356D-264F-9116-9E6DBE664B8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to 9" hidden="1">
                        <a:extLst>
                          <a:ext uri="{FF2B5EF4-FFF2-40B4-BE49-F238E27FC236}">
                            <a16:creationId xmlns:a16="http://schemas.microsoft.com/office/drawing/2014/main" id="{BFBBED81-356D-264F-9116-9E6DBE664B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D96FB52F-AA6B-7D41-8998-6E36FA259627}"/>
              </a:ext>
            </a:extLst>
          </p:cNvPr>
          <p:cNvSpPr>
            <a:spLocks noGrp="1"/>
          </p:cNvSpPr>
          <p:nvPr>
            <p:ph type="title"/>
          </p:nvPr>
        </p:nvSpPr>
        <p:spPr/>
        <p:txBody>
          <a:bodyPr vert="horz" anchor="b"/>
          <a:lstStyle/>
          <a:p>
            <a:pPr>
              <a:lnSpc>
                <a:spcPct val="80000"/>
              </a:lnSpc>
            </a:pPr>
            <a:r>
              <a:rPr lang="es-ES" sz="2800" dirty="0"/>
              <a:t>El financiamiento regional afectado por el contexto de tasas</a:t>
            </a:r>
            <a:endParaRPr lang="en-US" sz="2800" dirty="0"/>
          </a:p>
        </p:txBody>
      </p:sp>
      <p:sp>
        <p:nvSpPr>
          <p:cNvPr id="12" name="Marcador de texto 11">
            <a:extLst>
              <a:ext uri="{FF2B5EF4-FFF2-40B4-BE49-F238E27FC236}">
                <a16:creationId xmlns:a16="http://schemas.microsoft.com/office/drawing/2014/main" id="{384A512A-5049-C449-BF74-A05A567A922A}"/>
              </a:ext>
            </a:extLst>
          </p:cNvPr>
          <p:cNvSpPr>
            <a:spLocks noGrp="1"/>
          </p:cNvSpPr>
          <p:nvPr>
            <p:ph type="body" sz="quarter" idx="13"/>
          </p:nvPr>
        </p:nvSpPr>
        <p:spPr/>
        <p:txBody>
          <a:bodyPr/>
          <a:lstStyle/>
          <a:p>
            <a:r>
              <a:rPr lang="en-US" dirty="0"/>
              <a:t>Las </a:t>
            </a:r>
            <a:r>
              <a:rPr lang="en-US" dirty="0" err="1"/>
              <a:t>tasas</a:t>
            </a:r>
            <a:r>
              <a:rPr lang="en-US" dirty="0"/>
              <a:t> de </a:t>
            </a:r>
            <a:r>
              <a:rPr lang="en-US" dirty="0" err="1"/>
              <a:t>interés</a:t>
            </a:r>
            <a:r>
              <a:rPr lang="en-US" dirty="0"/>
              <a:t> </a:t>
            </a:r>
            <a:r>
              <a:rPr lang="en-US" dirty="0" err="1"/>
              <a:t>podrían</a:t>
            </a:r>
            <a:r>
              <a:rPr lang="en-US" dirty="0"/>
              <a:t> </a:t>
            </a:r>
            <a:r>
              <a:rPr lang="en-US" dirty="0" err="1"/>
              <a:t>mantenerse</a:t>
            </a:r>
            <a:r>
              <a:rPr lang="en-US" dirty="0"/>
              <a:t> </a:t>
            </a:r>
            <a:r>
              <a:rPr lang="en-US" dirty="0" err="1"/>
              <a:t>en</a:t>
            </a:r>
            <a:r>
              <a:rPr lang="en-US" dirty="0"/>
              <a:t> </a:t>
            </a:r>
            <a:r>
              <a:rPr lang="en-US" dirty="0" err="1"/>
              <a:t>el</a:t>
            </a:r>
            <a:r>
              <a:rPr lang="en-US" dirty="0"/>
              <a:t> </a:t>
            </a:r>
            <a:r>
              <a:rPr lang="en-US" dirty="0" err="1"/>
              <a:t>margen</a:t>
            </a:r>
            <a:r>
              <a:rPr lang="en-US" dirty="0"/>
              <a:t> superior del </a:t>
            </a:r>
            <a:r>
              <a:rPr lang="en-US" dirty="0" err="1"/>
              <a:t>rango</a:t>
            </a:r>
            <a:r>
              <a:rPr lang="en-US" dirty="0"/>
              <a:t> de </a:t>
            </a:r>
            <a:r>
              <a:rPr lang="en-US" dirty="0" err="1"/>
              <a:t>los</a:t>
            </a:r>
            <a:r>
              <a:rPr lang="en-US" dirty="0"/>
              <a:t> </a:t>
            </a:r>
            <a:r>
              <a:rPr lang="en-US" dirty="0" err="1"/>
              <a:t>últimos</a:t>
            </a:r>
            <a:r>
              <a:rPr lang="en-US" dirty="0"/>
              <a:t> 15 </a:t>
            </a:r>
            <a:r>
              <a:rPr lang="en-US" dirty="0" err="1"/>
              <a:t>años</a:t>
            </a:r>
            <a:endParaRPr lang="en-US" dirty="0"/>
          </a:p>
        </p:txBody>
      </p:sp>
      <p:sp>
        <p:nvSpPr>
          <p:cNvPr id="13" name="Marcador de texto 12">
            <a:extLst>
              <a:ext uri="{FF2B5EF4-FFF2-40B4-BE49-F238E27FC236}">
                <a16:creationId xmlns:a16="http://schemas.microsoft.com/office/drawing/2014/main" id="{4F6EE2C8-F438-DA4B-85E5-50DF325DE3D1}"/>
              </a:ext>
            </a:extLst>
          </p:cNvPr>
          <p:cNvSpPr>
            <a:spLocks noGrp="1"/>
          </p:cNvSpPr>
          <p:nvPr>
            <p:ph type="body" sz="quarter" idx="14"/>
          </p:nvPr>
        </p:nvSpPr>
        <p:spPr>
          <a:solidFill>
            <a:schemeClr val="accent1"/>
          </a:solidFill>
          <a:ln>
            <a:noFill/>
          </a:ln>
        </p:spPr>
        <p:txBody>
          <a:bodyPr/>
          <a:lstStyle/>
          <a:p>
            <a:endParaRPr lang="en-US" dirty="0"/>
          </a:p>
        </p:txBody>
      </p:sp>
      <p:sp>
        <p:nvSpPr>
          <p:cNvPr id="8" name="Marcador de número de diapositiva 7">
            <a:extLst>
              <a:ext uri="{FF2B5EF4-FFF2-40B4-BE49-F238E27FC236}">
                <a16:creationId xmlns:a16="http://schemas.microsoft.com/office/drawing/2014/main" id="{9F114160-19C7-2948-AEC7-4FFE886AFDF4}"/>
              </a:ext>
            </a:extLst>
          </p:cNvPr>
          <p:cNvSpPr>
            <a:spLocks noGrp="1"/>
          </p:cNvSpPr>
          <p:nvPr>
            <p:ph type="sldNum" sz="quarter" idx="17"/>
          </p:nvPr>
        </p:nvSpPr>
        <p:spPr/>
        <p:txBody>
          <a:bodyPr/>
          <a:lstStyle/>
          <a:p>
            <a:fld id="{9F427BA5-3988-40EC-8E11-9F7B5510E66B}" type="slidenum">
              <a:rPr lang="en-GB" smtClean="0"/>
              <a:pPr/>
              <a:t>9</a:t>
            </a:fld>
            <a:endParaRPr lang="en-GB"/>
          </a:p>
        </p:txBody>
      </p:sp>
      <p:sp>
        <p:nvSpPr>
          <p:cNvPr id="14" name="Marcador de texto 13">
            <a:extLst>
              <a:ext uri="{FF2B5EF4-FFF2-40B4-BE49-F238E27FC236}">
                <a16:creationId xmlns:a16="http://schemas.microsoft.com/office/drawing/2014/main" id="{F7B8DD8E-811A-C146-B2A5-0EAF986EE3BA}"/>
              </a:ext>
            </a:extLst>
          </p:cNvPr>
          <p:cNvSpPr>
            <a:spLocks noGrp="1"/>
          </p:cNvSpPr>
          <p:nvPr>
            <p:ph type="body" sz="quarter" idx="18"/>
          </p:nvPr>
        </p:nvSpPr>
        <p:spPr/>
        <p:txBody>
          <a:bodyPr/>
          <a:lstStyle/>
          <a:p>
            <a:endParaRPr lang="en-US" dirty="0"/>
          </a:p>
        </p:txBody>
      </p:sp>
      <p:grpSp>
        <p:nvGrpSpPr>
          <p:cNvPr id="20" name="Grupo 19">
            <a:extLst>
              <a:ext uri="{FF2B5EF4-FFF2-40B4-BE49-F238E27FC236}">
                <a16:creationId xmlns:a16="http://schemas.microsoft.com/office/drawing/2014/main" id="{E9753CB4-B824-42A4-8DF1-BCAA0AE1B130}"/>
              </a:ext>
            </a:extLst>
          </p:cNvPr>
          <p:cNvGrpSpPr/>
          <p:nvPr/>
        </p:nvGrpSpPr>
        <p:grpSpPr>
          <a:xfrm>
            <a:off x="420299" y="1832958"/>
            <a:ext cx="11289920" cy="382764"/>
            <a:chOff x="420299" y="1832958"/>
            <a:chExt cx="2259401" cy="382764"/>
          </a:xfrm>
        </p:grpSpPr>
        <p:cxnSp>
          <p:nvCxnSpPr>
            <p:cNvPr id="23" name="Straight Connector 18">
              <a:extLst>
                <a:ext uri="{FF2B5EF4-FFF2-40B4-BE49-F238E27FC236}">
                  <a16:creationId xmlns:a16="http://schemas.microsoft.com/office/drawing/2014/main" id="{1EBBE70B-4691-4A33-8AC3-1275D647E9CE}"/>
                </a:ext>
              </a:extLst>
            </p:cNvPr>
            <p:cNvCxnSpPr>
              <a:cxnSpLocks/>
            </p:cNvCxnSpPr>
            <p:nvPr/>
          </p:nvCxnSpPr>
          <p:spPr>
            <a:xfrm>
              <a:off x="420299" y="2215722"/>
              <a:ext cx="2259401" cy="0"/>
            </a:xfrm>
            <a:prstGeom prst="line">
              <a:avLst/>
            </a:prstGeom>
            <a:ln w="12700">
              <a:gradFill>
                <a:gsLst>
                  <a:gs pos="0">
                    <a:schemeClr val="accent5"/>
                  </a:gs>
                  <a:gs pos="100000">
                    <a:schemeClr val="accent1"/>
                  </a:gs>
                </a:gsLst>
                <a:lin ang="12000000" scaled="0"/>
              </a:gradFill>
            </a:ln>
          </p:spPr>
          <p:style>
            <a:lnRef idx="1">
              <a:schemeClr val="accent1"/>
            </a:lnRef>
            <a:fillRef idx="0">
              <a:schemeClr val="accent1"/>
            </a:fillRef>
            <a:effectRef idx="0">
              <a:schemeClr val="accent1"/>
            </a:effectRef>
            <a:fontRef idx="minor">
              <a:schemeClr val="tx1"/>
            </a:fontRef>
          </p:style>
        </p:cxnSp>
        <p:sp>
          <p:nvSpPr>
            <p:cNvPr id="24" name="TextBox 3">
              <a:extLst>
                <a:ext uri="{FF2B5EF4-FFF2-40B4-BE49-F238E27FC236}">
                  <a16:creationId xmlns:a16="http://schemas.microsoft.com/office/drawing/2014/main" id="{40E2417D-0566-49FC-BCF5-B1A614C05260}"/>
                </a:ext>
              </a:extLst>
            </p:cNvPr>
            <p:cNvSpPr txBox="1"/>
            <p:nvPr/>
          </p:nvSpPr>
          <p:spPr>
            <a:xfrm>
              <a:off x="420299" y="1832958"/>
              <a:ext cx="2259401" cy="369332"/>
            </a:xfrm>
            <a:prstGeom prst="rect">
              <a:avLst/>
            </a:prstGeom>
            <a:noFill/>
          </p:spPr>
          <p:txBody>
            <a:bodyPr wrap="square" lIns="0" rtlCol="0">
              <a:spAutoFit/>
            </a:bodyPr>
            <a:lstStyle/>
            <a:p>
              <a:r>
                <a:rPr lang="es-ES_tradnl" b="1" dirty="0">
                  <a:solidFill>
                    <a:schemeClr val="accent3"/>
                  </a:solidFill>
                  <a:latin typeface="Poppins" pitchFamily="2" charset="77"/>
                  <a:cs typeface="Poppins" pitchFamily="2" charset="77"/>
                </a:rPr>
                <a:t>Pemex, Petrobras y Ecopetrol enfrentan mayores costos financieros</a:t>
              </a:r>
            </a:p>
          </p:txBody>
        </p:sp>
      </p:grpSp>
      <p:graphicFrame>
        <p:nvGraphicFramePr>
          <p:cNvPr id="15" name="Gráfico 13">
            <a:extLst>
              <a:ext uri="{FF2B5EF4-FFF2-40B4-BE49-F238E27FC236}">
                <a16:creationId xmlns:a16="http://schemas.microsoft.com/office/drawing/2014/main" id="{9E6DBCA2-00E9-4845-A6F7-9645275AAC98}"/>
              </a:ext>
            </a:extLst>
          </p:cNvPr>
          <p:cNvGraphicFramePr/>
          <p:nvPr>
            <p:extLst>
              <p:ext uri="{D42A27DB-BD31-4B8C-83A1-F6EECF244321}">
                <p14:modId xmlns:p14="http://schemas.microsoft.com/office/powerpoint/2010/main" val="1327865443"/>
              </p:ext>
            </p:extLst>
          </p:nvPr>
        </p:nvGraphicFramePr>
        <p:xfrm>
          <a:off x="342900" y="2372395"/>
          <a:ext cx="11225098" cy="3864891"/>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380A3164-0D18-E8FF-EA39-75FA2FD7E1D4}"/>
              </a:ext>
            </a:extLst>
          </p:cNvPr>
          <p:cNvSpPr txBox="1"/>
          <p:nvPr/>
        </p:nvSpPr>
        <p:spPr>
          <a:xfrm>
            <a:off x="10349334" y="2372395"/>
            <a:ext cx="1287725" cy="369332"/>
          </a:xfrm>
          <a:prstGeom prst="rect">
            <a:avLst/>
          </a:prstGeom>
          <a:noFill/>
        </p:spPr>
        <p:txBody>
          <a:bodyPr wrap="none" rtlCol="0">
            <a:spAutoFit/>
          </a:bodyPr>
          <a:lstStyle/>
          <a:p>
            <a:r>
              <a:rPr lang="en-US" dirty="0">
                <a:solidFill>
                  <a:schemeClr val="tx2"/>
                </a:solidFill>
              </a:rPr>
              <a:t>Pemex ‘31</a:t>
            </a:r>
          </a:p>
        </p:txBody>
      </p:sp>
      <p:sp>
        <p:nvSpPr>
          <p:cNvPr id="4" name="TextBox 3">
            <a:extLst>
              <a:ext uri="{FF2B5EF4-FFF2-40B4-BE49-F238E27FC236}">
                <a16:creationId xmlns:a16="http://schemas.microsoft.com/office/drawing/2014/main" id="{69DA723F-D68B-47C8-8C8E-6913D70A485E}"/>
              </a:ext>
            </a:extLst>
          </p:cNvPr>
          <p:cNvSpPr txBox="1"/>
          <p:nvPr/>
        </p:nvSpPr>
        <p:spPr>
          <a:xfrm>
            <a:off x="10106978" y="3496747"/>
            <a:ext cx="1563441" cy="369332"/>
          </a:xfrm>
          <a:prstGeom prst="rect">
            <a:avLst/>
          </a:prstGeom>
          <a:noFill/>
        </p:spPr>
        <p:txBody>
          <a:bodyPr wrap="none" rtlCol="0">
            <a:spAutoFit/>
          </a:bodyPr>
          <a:lstStyle/>
          <a:p>
            <a:r>
              <a:rPr lang="en-US" dirty="0" err="1">
                <a:solidFill>
                  <a:schemeClr val="accent2"/>
                </a:solidFill>
              </a:rPr>
              <a:t>Ecopetrol</a:t>
            </a:r>
            <a:r>
              <a:rPr lang="en-US" dirty="0">
                <a:solidFill>
                  <a:schemeClr val="accent2"/>
                </a:solidFill>
              </a:rPr>
              <a:t> ‘30</a:t>
            </a:r>
          </a:p>
        </p:txBody>
      </p:sp>
      <p:sp>
        <p:nvSpPr>
          <p:cNvPr id="5" name="TextBox 4">
            <a:extLst>
              <a:ext uri="{FF2B5EF4-FFF2-40B4-BE49-F238E27FC236}">
                <a16:creationId xmlns:a16="http://schemas.microsoft.com/office/drawing/2014/main" id="{168070A2-2C7D-CC80-23BC-65DE2C1BC130}"/>
              </a:ext>
            </a:extLst>
          </p:cNvPr>
          <p:cNvSpPr txBox="1"/>
          <p:nvPr/>
        </p:nvSpPr>
        <p:spPr>
          <a:xfrm>
            <a:off x="10073618" y="4272946"/>
            <a:ext cx="1595693" cy="369332"/>
          </a:xfrm>
          <a:prstGeom prst="rect">
            <a:avLst/>
          </a:prstGeom>
          <a:noFill/>
        </p:spPr>
        <p:txBody>
          <a:bodyPr wrap="none" rtlCol="0">
            <a:spAutoFit/>
          </a:bodyPr>
          <a:lstStyle/>
          <a:p>
            <a:r>
              <a:rPr lang="en-US" dirty="0">
                <a:solidFill>
                  <a:schemeClr val="accent3"/>
                </a:solidFill>
              </a:rPr>
              <a:t>Petrobras ‘31</a:t>
            </a:r>
          </a:p>
        </p:txBody>
      </p:sp>
    </p:spTree>
    <p:extLst>
      <p:ext uri="{BB962C8B-B14F-4D97-AF65-F5344CB8AC3E}">
        <p14:creationId xmlns:p14="http://schemas.microsoft.com/office/powerpoint/2010/main" val="135782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NKER">
      <a:dk1>
        <a:srgbClr val="000000"/>
      </a:dk1>
      <a:lt1>
        <a:srgbClr val="FFFFFF"/>
      </a:lt1>
      <a:dk2>
        <a:srgbClr val="222E46"/>
      </a:dk2>
      <a:lt2>
        <a:srgbClr val="E7E6E6"/>
      </a:lt2>
      <a:accent1>
        <a:srgbClr val="222E46"/>
      </a:accent1>
      <a:accent2>
        <a:srgbClr val="214F6F"/>
      </a:accent2>
      <a:accent3>
        <a:srgbClr val="2982A3"/>
      </a:accent3>
      <a:accent4>
        <a:srgbClr val="959595"/>
      </a:accent4>
      <a:accent5>
        <a:srgbClr val="0061F9"/>
      </a:accent5>
      <a:accent6>
        <a:srgbClr val="0077FF"/>
      </a:accent6>
      <a:hlink>
        <a:srgbClr val="0563C1"/>
      </a:hlink>
      <a:folHlink>
        <a:srgbClr val="954F72"/>
      </a:folHlink>
    </a:clrScheme>
    <a:fontScheme name="ANK">
      <a:majorFont>
        <a:latin typeface="Poppi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31</TotalTime>
  <Words>1606</Words>
  <Application>Microsoft Macintosh PowerPoint</Application>
  <PresentationFormat>Widescreen</PresentationFormat>
  <Paragraphs>152</Paragraphs>
  <Slides>14</Slides>
  <Notes>1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Helvetica Neue</vt:lpstr>
      <vt:lpstr>Open Sans</vt:lpstr>
      <vt:lpstr>Poppins</vt:lpstr>
      <vt:lpstr>Tipo de letra del sistema regular</vt:lpstr>
      <vt:lpstr>Office Theme</vt:lpstr>
      <vt:lpstr>think-cell Slide</vt:lpstr>
      <vt:lpstr>PowerPoint Presentation</vt:lpstr>
      <vt:lpstr>La inversión en Argentina depende del financiamiento global</vt:lpstr>
      <vt:lpstr>Transición de un recurso escaso a un recurso abundante</vt:lpstr>
      <vt:lpstr>Demanda de petróleo con pico en un horizonte visible</vt:lpstr>
      <vt:lpstr>Abundancia de recursos e incertidumbre en la demanda</vt:lpstr>
      <vt:lpstr>El contexto de tasas de interés agrega desafíos a la inversión</vt:lpstr>
      <vt:lpstr>Un sector con tracción limitada en los portafolios globales</vt:lpstr>
      <vt:lpstr>Productores regionales se adaptan para competir por capital</vt:lpstr>
      <vt:lpstr>El financiamiento regional afectado por el contexto de tasas</vt:lpstr>
      <vt:lpstr>Los volúmenes de emisión de deuda disminuyen</vt:lpstr>
      <vt:lpstr>Argentina se recompone y recupera terreno…</vt:lpstr>
      <vt:lpstr>…pero aún queda terreno para recorrer</vt:lpstr>
      <vt:lpstr>Conclusione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Yossy Made Yulian</dc:creator>
  <cp:keywords/>
  <dc:description/>
  <cp:lastModifiedBy>Maria Bausili</cp:lastModifiedBy>
  <cp:revision>1383</cp:revision>
  <dcterms:created xsi:type="dcterms:W3CDTF">2020-10-02T04:22:37Z</dcterms:created>
  <dcterms:modified xsi:type="dcterms:W3CDTF">2023-11-08T17:09:55Z</dcterms:modified>
  <cp:category/>
</cp:coreProperties>
</file>